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</p:sldMasterIdLst>
  <p:notesMasterIdLst>
    <p:notesMasterId r:id="rId21"/>
  </p:notesMasterIdLst>
  <p:handoutMasterIdLst>
    <p:handoutMasterId r:id="rId22"/>
  </p:handoutMasterIdLst>
  <p:sldIdLst>
    <p:sldId id="457" r:id="rId3"/>
    <p:sldId id="451" r:id="rId4"/>
    <p:sldId id="465" r:id="rId5"/>
    <p:sldId id="479" r:id="rId6"/>
    <p:sldId id="467" r:id="rId7"/>
    <p:sldId id="468" r:id="rId8"/>
    <p:sldId id="470" r:id="rId9"/>
    <p:sldId id="481" r:id="rId10"/>
    <p:sldId id="472" r:id="rId11"/>
    <p:sldId id="482" r:id="rId12"/>
    <p:sldId id="475" r:id="rId13"/>
    <p:sldId id="483" r:id="rId14"/>
    <p:sldId id="484" r:id="rId15"/>
    <p:sldId id="474" r:id="rId16"/>
    <p:sldId id="480" r:id="rId17"/>
    <p:sldId id="444" r:id="rId18"/>
    <p:sldId id="485" r:id="rId19"/>
    <p:sldId id="476" r:id="rId20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E2"/>
    <a:srgbClr val="0066CC"/>
    <a:srgbClr val="3897FA"/>
    <a:srgbClr val="67C1F9"/>
    <a:srgbClr val="3BAFF7"/>
    <a:srgbClr val="38A1FA"/>
    <a:srgbClr val="FBFBFB"/>
    <a:srgbClr val="22A5F6"/>
    <a:srgbClr val="3A5E86"/>
    <a:srgbClr val="2C9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94475" autoAdjust="0"/>
  </p:normalViewPr>
  <p:slideViewPr>
    <p:cSldViewPr>
      <p:cViewPr>
        <p:scale>
          <a:sx n="75" d="100"/>
          <a:sy n="75" d="100"/>
        </p:scale>
        <p:origin x="-1248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-3888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76E98D-681E-4BD8-A899-2E43786A6950}" type="doc">
      <dgm:prSet loTypeId="urn:microsoft.com/office/officeart/2005/8/layout/cycle5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9CA86F59-A475-4D86-8068-3DBE42C13C2E}">
      <dgm:prSet phldrT="[文本]" custT="1"/>
      <dgm:spPr/>
      <dgm:t>
        <a:bodyPr/>
        <a:lstStyle/>
        <a:p>
          <a:r>
            <a:rPr lang="zh-CN" altLang="en-US" sz="2400" dirty="0" smtClean="0"/>
            <a:t>超级</a:t>
          </a:r>
          <a:r>
            <a:rPr lang="en-US" altLang="zh-CN" sz="2400" dirty="0" smtClean="0"/>
            <a:t>APP</a:t>
          </a:r>
        </a:p>
        <a:p>
          <a:r>
            <a:rPr lang="zh-CN" altLang="en-US" sz="1800" dirty="0" smtClean="0"/>
            <a:t>使用方</a:t>
          </a:r>
          <a:endParaRPr lang="zh-CN" altLang="en-US" sz="1800" dirty="0"/>
        </a:p>
      </dgm:t>
    </dgm:pt>
    <dgm:pt modelId="{801C6068-D735-45DF-8C75-7C2F76C5E6B3}" type="par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DC235DE9-35B6-4CBB-AAA6-97C8BBE75990}" type="sib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4B49090A-5BAD-43AD-9D38-E0765C6F7511}">
      <dgm:prSet phldrT="[文本]" custT="1"/>
      <dgm:spPr/>
      <dgm:t>
        <a:bodyPr/>
        <a:lstStyle/>
        <a:p>
          <a:pPr>
            <a:lnSpc>
              <a:spcPct val="90000"/>
            </a:lnSpc>
          </a:pPr>
          <a:r>
            <a:rPr lang="zh-CN" altLang="en-US" sz="2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</a:p>
        <a:p>
          <a:pPr>
            <a:lnSpc>
              <a:spcPts val="1300"/>
            </a:lnSpc>
          </a:pPr>
          <a:r>
            <a:rPr lang="zh-CN" altLang="en-US" sz="1200" dirty="0" smtClean="0"/>
            <a:t>京东智能芯片硬件</a:t>
          </a:r>
          <a:r>
            <a:rPr lang="en-US" altLang="zh-CN" sz="1200" dirty="0" smtClean="0"/>
            <a:t>…</a:t>
          </a:r>
          <a:endParaRPr lang="zh-CN" altLang="en-US" sz="1200" dirty="0"/>
        </a:p>
      </dgm:t>
    </dgm:pt>
    <dgm:pt modelId="{950C97FD-2D2C-4658-9EFF-D2E08F0264B7}" type="par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A92A1E7E-BD88-4D94-B11A-077D7DDFC55F}" type="sib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902F05D1-5D02-4E4E-9916-FE9EACDABDBD}">
      <dgm:prSet phldrT="[文本]" custT="1"/>
      <dgm:spPr/>
      <dgm:t>
        <a:bodyPr/>
        <a:lstStyle/>
        <a:p>
          <a:pPr>
            <a:lnSpc>
              <a:spcPts val="1300"/>
            </a:lnSpc>
          </a:pPr>
          <a:r>
            <a:rPr lang="zh-CN" altLang="en-US" sz="2000" dirty="0" smtClean="0"/>
            <a:t>超级智点</a:t>
          </a:r>
          <a:r>
            <a:rPr lang="en-US" altLang="zh-CN" sz="2000" smtClean="0"/>
            <a:t>/</a:t>
          </a:r>
          <a:r>
            <a:rPr lang="zh-CN" altLang="en-US" sz="2000" smtClean="0"/>
            <a:t>网关</a:t>
          </a:r>
          <a:endParaRPr lang="en-US" altLang="zh-CN" sz="2000" dirty="0" smtClean="0"/>
        </a:p>
        <a:p>
          <a:pPr>
            <a:lnSpc>
              <a:spcPts val="1300"/>
            </a:lnSpc>
          </a:pP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en-US" altLang="zh-CN" sz="2000" dirty="0" smtClean="0"/>
            <a:t>JOS</a:t>
          </a:r>
          <a:r>
            <a:rPr lang="zh-CN" altLang="en-US" sz="2000" dirty="0" smtClean="0"/>
            <a:t>平台</a:t>
          </a:r>
          <a:endParaRPr lang="zh-CN" altLang="en-US" sz="2000" dirty="0"/>
        </a:p>
      </dgm:t>
    </dgm:pt>
    <dgm:pt modelId="{15657EA9-E5B9-4615-9CCF-9962D97C8EB2}" type="par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6314B759-42AE-4323-8956-0C51F8EC15B0}" type="sib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9A5390B3-9DE4-4307-8B4D-1FCCD19DA2D3}">
      <dgm:prSet phldrT="[文本]" custT="1"/>
      <dgm:spPr/>
      <dgm:t>
        <a:bodyPr/>
        <a:lstStyle/>
        <a:p>
          <a:endParaRPr lang="zh-CN" altLang="en-US" sz="2000" dirty="0"/>
        </a:p>
      </dgm:t>
    </dgm:pt>
    <dgm:pt modelId="{BC594399-031D-45EA-A1A3-2B7EDD759E52}" type="par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2812667B-DDBF-44BD-A2B2-CF6E2F2397D7}" type="sib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595AE221-7875-4E0E-8878-B5BF0D5D98F4}" type="pres">
      <dgm:prSet presAssocID="{5776E98D-681E-4BD8-A899-2E43786A695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5ABE654-E5CC-4958-BCFF-FD111690A665}" type="pres">
      <dgm:prSet presAssocID="{9CA86F59-A475-4D86-8068-3DBE42C13C2E}" presName="node" presStyleLbl="node1" presStyleIdx="0" presStyleCnt="4" custRadScaleRad="100049" custRadScaleInc="-598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22DC92D-C988-453C-B5C7-8AD0577E29E3}" type="pres">
      <dgm:prSet presAssocID="{9CA86F59-A475-4D86-8068-3DBE42C13C2E}" presName="spNode" presStyleCnt="0"/>
      <dgm:spPr/>
    </dgm:pt>
    <dgm:pt modelId="{2FC56827-FD6F-48A0-B51E-9FE59FC5DFB2}" type="pres">
      <dgm:prSet presAssocID="{DC235DE9-35B6-4CBB-AAA6-97C8BBE75990}" presName="sibTrans" presStyleLbl="sibTrans1D1" presStyleIdx="0" presStyleCnt="4"/>
      <dgm:spPr/>
      <dgm:t>
        <a:bodyPr/>
        <a:lstStyle/>
        <a:p>
          <a:endParaRPr lang="zh-CN" altLang="en-US"/>
        </a:p>
      </dgm:t>
    </dgm:pt>
    <dgm:pt modelId="{9F1832AF-972D-4495-9088-98C77B8834D5}" type="pres">
      <dgm:prSet presAssocID="{902F05D1-5D02-4E4E-9916-FE9EACDABDBD}" presName="node" presStyleLbl="node1" presStyleIdx="1" presStyleCnt="4" custScaleX="112552" custScaleY="122110" custRadScaleRad="99832" custRadScaleInc="-4276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FE3C282-7792-41CE-AA09-71AB76386C27}" type="pres">
      <dgm:prSet presAssocID="{902F05D1-5D02-4E4E-9916-FE9EACDABDBD}" presName="spNode" presStyleCnt="0"/>
      <dgm:spPr/>
    </dgm:pt>
    <dgm:pt modelId="{A774B7FE-EB5B-41C1-87F2-E431AB309E24}" type="pres">
      <dgm:prSet presAssocID="{6314B759-42AE-4323-8956-0C51F8EC15B0}" presName="sibTrans" presStyleLbl="sibTrans1D1" presStyleIdx="1" presStyleCnt="4"/>
      <dgm:spPr/>
      <dgm:t>
        <a:bodyPr/>
        <a:lstStyle/>
        <a:p>
          <a:endParaRPr lang="zh-CN" altLang="en-US"/>
        </a:p>
      </dgm:t>
    </dgm:pt>
    <dgm:pt modelId="{C841B54E-A197-4B8A-8117-1C7A14AEAED8}" type="pres">
      <dgm:prSet presAssocID="{9A5390B3-9DE4-4307-8B4D-1FCCD19DA2D3}" presName="node" presStyleLbl="node1" presStyleIdx="2" presStyleCnt="4" custScaleX="36560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1ACA080-B19C-46B5-BD1F-67BE0314DB4D}" type="pres">
      <dgm:prSet presAssocID="{9A5390B3-9DE4-4307-8B4D-1FCCD19DA2D3}" presName="spNode" presStyleCnt="0"/>
      <dgm:spPr/>
    </dgm:pt>
    <dgm:pt modelId="{8BD773E2-CBC8-4A1A-A72A-7BBDA83C25FA}" type="pres">
      <dgm:prSet presAssocID="{2812667B-DDBF-44BD-A2B2-CF6E2F2397D7}" presName="sibTrans" presStyleLbl="sibTrans1D1" presStyleIdx="2" presStyleCnt="4"/>
      <dgm:spPr/>
      <dgm:t>
        <a:bodyPr/>
        <a:lstStyle/>
        <a:p>
          <a:endParaRPr lang="zh-CN" altLang="en-US"/>
        </a:p>
      </dgm:t>
    </dgm:pt>
    <dgm:pt modelId="{29379221-0C86-4B18-BA1D-0041EBA6EEC9}" type="pres">
      <dgm:prSet presAssocID="{4B49090A-5BAD-43AD-9D38-E0765C6F7511}" presName="node" presStyleLbl="node1" presStyleIdx="3" presStyleCnt="4" custScaleX="109862" custScaleY="122769" custRadScaleRad="103835" custRadScaleInc="4071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BCDBC7-F0AC-4B3F-B3C7-7F94FCF91CE5}" type="pres">
      <dgm:prSet presAssocID="{4B49090A-5BAD-43AD-9D38-E0765C6F7511}" presName="spNode" presStyleCnt="0"/>
      <dgm:spPr/>
    </dgm:pt>
    <dgm:pt modelId="{2A9A4914-E73F-4A93-892C-4E820444E5F1}" type="pres">
      <dgm:prSet presAssocID="{A92A1E7E-BD88-4D94-B11A-077D7DDFC55F}" presName="sibTrans" presStyleLbl="sibTrans1D1" presStyleIdx="3" presStyleCnt="4"/>
      <dgm:spPr/>
      <dgm:t>
        <a:bodyPr/>
        <a:lstStyle/>
        <a:p>
          <a:endParaRPr lang="zh-CN" altLang="en-US"/>
        </a:p>
      </dgm:t>
    </dgm:pt>
  </dgm:ptLst>
  <dgm:cxnLst>
    <dgm:cxn modelId="{F2F91EBD-E20A-456B-A38B-046B9164C1EC}" type="presOf" srcId="{5776E98D-681E-4BD8-A899-2E43786A6950}" destId="{595AE221-7875-4E0E-8878-B5BF0D5D98F4}" srcOrd="0" destOrd="0" presId="urn:microsoft.com/office/officeart/2005/8/layout/cycle5"/>
    <dgm:cxn modelId="{2C60DEF7-E635-4451-9C1A-C9C73F481B90}" srcId="{5776E98D-681E-4BD8-A899-2E43786A6950}" destId="{9A5390B3-9DE4-4307-8B4D-1FCCD19DA2D3}" srcOrd="2" destOrd="0" parTransId="{BC594399-031D-45EA-A1A3-2B7EDD759E52}" sibTransId="{2812667B-DDBF-44BD-A2B2-CF6E2F2397D7}"/>
    <dgm:cxn modelId="{14FAC8E2-37F7-4DC0-8DA4-65271492EA88}" type="presOf" srcId="{9CA86F59-A475-4D86-8068-3DBE42C13C2E}" destId="{55ABE654-E5CC-4958-BCFF-FD111690A665}" srcOrd="0" destOrd="0" presId="urn:microsoft.com/office/officeart/2005/8/layout/cycle5"/>
    <dgm:cxn modelId="{0DC2A7A1-27E2-4C10-8A44-6A74E7A411DB}" srcId="{5776E98D-681E-4BD8-A899-2E43786A6950}" destId="{9CA86F59-A475-4D86-8068-3DBE42C13C2E}" srcOrd="0" destOrd="0" parTransId="{801C6068-D735-45DF-8C75-7C2F76C5E6B3}" sibTransId="{DC235DE9-35B6-4CBB-AAA6-97C8BBE75990}"/>
    <dgm:cxn modelId="{E683DDC2-5846-4E3B-ADAA-0FCB3F659D5D}" srcId="{5776E98D-681E-4BD8-A899-2E43786A6950}" destId="{902F05D1-5D02-4E4E-9916-FE9EACDABDBD}" srcOrd="1" destOrd="0" parTransId="{15657EA9-E5B9-4615-9CCF-9962D97C8EB2}" sibTransId="{6314B759-42AE-4323-8956-0C51F8EC15B0}"/>
    <dgm:cxn modelId="{1F76599A-6691-4BFB-983F-2BCBE1E9EACF}" type="presOf" srcId="{6314B759-42AE-4323-8956-0C51F8EC15B0}" destId="{A774B7FE-EB5B-41C1-87F2-E431AB309E24}" srcOrd="0" destOrd="0" presId="urn:microsoft.com/office/officeart/2005/8/layout/cycle5"/>
    <dgm:cxn modelId="{2345A76C-C7EF-4C96-9254-B568B5668761}" type="presOf" srcId="{902F05D1-5D02-4E4E-9916-FE9EACDABDBD}" destId="{9F1832AF-972D-4495-9088-98C77B8834D5}" srcOrd="0" destOrd="0" presId="urn:microsoft.com/office/officeart/2005/8/layout/cycle5"/>
    <dgm:cxn modelId="{718BA971-3526-44F9-8A93-85E01ABE7BFD}" type="presOf" srcId="{9A5390B3-9DE4-4307-8B4D-1FCCD19DA2D3}" destId="{C841B54E-A197-4B8A-8117-1C7A14AEAED8}" srcOrd="0" destOrd="0" presId="urn:microsoft.com/office/officeart/2005/8/layout/cycle5"/>
    <dgm:cxn modelId="{02C79BD1-E7D3-4ED2-A8A5-12C9BBF42145}" type="presOf" srcId="{4B49090A-5BAD-43AD-9D38-E0765C6F7511}" destId="{29379221-0C86-4B18-BA1D-0041EBA6EEC9}" srcOrd="0" destOrd="0" presId="urn:microsoft.com/office/officeart/2005/8/layout/cycle5"/>
    <dgm:cxn modelId="{8905144D-B082-416E-89BF-0A6EB2B124BD}" srcId="{5776E98D-681E-4BD8-A899-2E43786A6950}" destId="{4B49090A-5BAD-43AD-9D38-E0765C6F7511}" srcOrd="3" destOrd="0" parTransId="{950C97FD-2D2C-4658-9EFF-D2E08F0264B7}" sibTransId="{A92A1E7E-BD88-4D94-B11A-077D7DDFC55F}"/>
    <dgm:cxn modelId="{D5206A94-9D66-401B-B173-EADA3E0F621B}" type="presOf" srcId="{DC235DE9-35B6-4CBB-AAA6-97C8BBE75990}" destId="{2FC56827-FD6F-48A0-B51E-9FE59FC5DFB2}" srcOrd="0" destOrd="0" presId="urn:microsoft.com/office/officeart/2005/8/layout/cycle5"/>
    <dgm:cxn modelId="{831F5A19-207B-47AF-9902-4A649736E299}" type="presOf" srcId="{2812667B-DDBF-44BD-A2B2-CF6E2F2397D7}" destId="{8BD773E2-CBC8-4A1A-A72A-7BBDA83C25FA}" srcOrd="0" destOrd="0" presId="urn:microsoft.com/office/officeart/2005/8/layout/cycle5"/>
    <dgm:cxn modelId="{E9DBAEAD-C200-4E71-AFAC-EB50E1BE6774}" type="presOf" srcId="{A92A1E7E-BD88-4D94-B11A-077D7DDFC55F}" destId="{2A9A4914-E73F-4A93-892C-4E820444E5F1}" srcOrd="0" destOrd="0" presId="urn:microsoft.com/office/officeart/2005/8/layout/cycle5"/>
    <dgm:cxn modelId="{5BF0F229-4EB6-4358-8D69-C0829E29A04E}" type="presParOf" srcId="{595AE221-7875-4E0E-8878-B5BF0D5D98F4}" destId="{55ABE654-E5CC-4958-BCFF-FD111690A665}" srcOrd="0" destOrd="0" presId="urn:microsoft.com/office/officeart/2005/8/layout/cycle5"/>
    <dgm:cxn modelId="{A063A188-F7E9-4E54-9EC8-3762C843F341}" type="presParOf" srcId="{595AE221-7875-4E0E-8878-B5BF0D5D98F4}" destId="{422DC92D-C988-453C-B5C7-8AD0577E29E3}" srcOrd="1" destOrd="0" presId="urn:microsoft.com/office/officeart/2005/8/layout/cycle5"/>
    <dgm:cxn modelId="{F9A87390-7DF2-4F1B-AD91-EFD4D3F1F7BE}" type="presParOf" srcId="{595AE221-7875-4E0E-8878-B5BF0D5D98F4}" destId="{2FC56827-FD6F-48A0-B51E-9FE59FC5DFB2}" srcOrd="2" destOrd="0" presId="urn:microsoft.com/office/officeart/2005/8/layout/cycle5"/>
    <dgm:cxn modelId="{DB11CA84-53BE-4C3A-9057-14AE84EE739F}" type="presParOf" srcId="{595AE221-7875-4E0E-8878-B5BF0D5D98F4}" destId="{9F1832AF-972D-4495-9088-98C77B8834D5}" srcOrd="3" destOrd="0" presId="urn:microsoft.com/office/officeart/2005/8/layout/cycle5"/>
    <dgm:cxn modelId="{575CADE4-4EBE-4C3D-9328-FF1672C39AA6}" type="presParOf" srcId="{595AE221-7875-4E0E-8878-B5BF0D5D98F4}" destId="{AFE3C282-7792-41CE-AA09-71AB76386C27}" srcOrd="4" destOrd="0" presId="urn:microsoft.com/office/officeart/2005/8/layout/cycle5"/>
    <dgm:cxn modelId="{88F07844-4B92-4DE2-BE5C-FC3D5C695BD4}" type="presParOf" srcId="{595AE221-7875-4E0E-8878-B5BF0D5D98F4}" destId="{A774B7FE-EB5B-41C1-87F2-E431AB309E24}" srcOrd="5" destOrd="0" presId="urn:microsoft.com/office/officeart/2005/8/layout/cycle5"/>
    <dgm:cxn modelId="{6C0C1188-F442-48E5-A200-73021C519F5A}" type="presParOf" srcId="{595AE221-7875-4E0E-8878-B5BF0D5D98F4}" destId="{C841B54E-A197-4B8A-8117-1C7A14AEAED8}" srcOrd="6" destOrd="0" presId="urn:microsoft.com/office/officeart/2005/8/layout/cycle5"/>
    <dgm:cxn modelId="{13854B2B-FB2C-4D40-8E1B-4E1E33E36D9E}" type="presParOf" srcId="{595AE221-7875-4E0E-8878-B5BF0D5D98F4}" destId="{41ACA080-B19C-46B5-BD1F-67BE0314DB4D}" srcOrd="7" destOrd="0" presId="urn:microsoft.com/office/officeart/2005/8/layout/cycle5"/>
    <dgm:cxn modelId="{1F56C2EF-2D39-42C3-9412-713D64503192}" type="presParOf" srcId="{595AE221-7875-4E0E-8878-B5BF0D5D98F4}" destId="{8BD773E2-CBC8-4A1A-A72A-7BBDA83C25FA}" srcOrd="8" destOrd="0" presId="urn:microsoft.com/office/officeart/2005/8/layout/cycle5"/>
    <dgm:cxn modelId="{343A0B51-79D1-49A6-A4C8-4AC4F06C2239}" type="presParOf" srcId="{595AE221-7875-4E0E-8878-B5BF0D5D98F4}" destId="{29379221-0C86-4B18-BA1D-0041EBA6EEC9}" srcOrd="9" destOrd="0" presId="urn:microsoft.com/office/officeart/2005/8/layout/cycle5"/>
    <dgm:cxn modelId="{AFCDACE9-F3D5-4FE0-9037-14EAAFB5D93B}" type="presParOf" srcId="{595AE221-7875-4E0E-8878-B5BF0D5D98F4}" destId="{A1BCDBC7-F0AC-4B3F-B3C7-7F94FCF91CE5}" srcOrd="10" destOrd="0" presId="urn:microsoft.com/office/officeart/2005/8/layout/cycle5"/>
    <dgm:cxn modelId="{02FCB520-4D26-421B-8902-67E5474C1AAB}" type="presParOf" srcId="{595AE221-7875-4E0E-8878-B5BF0D5D98F4}" destId="{2A9A4914-E73F-4A93-892C-4E820444E5F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CCBC1D6-062B-4067-856D-24C3EE110234}" type="doc">
      <dgm:prSet loTypeId="urn:microsoft.com/office/officeart/2005/8/layout/chart3" loCatId="relationship" qsTypeId="urn:microsoft.com/office/officeart/2005/8/quickstyle/simple1" qsCatId="simple" csTypeId="urn:microsoft.com/office/officeart/2005/8/colors/accent1_2" csCatId="accent1" phldr="1"/>
      <dgm:spPr/>
    </dgm:pt>
    <dgm:pt modelId="{94F70559-F992-4582-87D0-0DCB5536AC7C}">
      <dgm:prSet phldrT="[文本]"/>
      <dgm:spPr/>
      <dgm:t>
        <a:bodyPr/>
        <a:lstStyle/>
        <a:p>
          <a:r>
            <a:rPr lang="en-US" altLang="zh-CN" dirty="0" smtClean="0"/>
            <a:t>offer repost</a:t>
          </a:r>
          <a:endParaRPr lang="zh-CN" altLang="en-US" dirty="0"/>
        </a:p>
      </dgm:t>
    </dgm:pt>
    <dgm:pt modelId="{91845617-B1D4-4E19-BBED-A803A87CF27A}" type="parTrans" cxnId="{E39B8F6D-5945-4841-82F6-9061CBC31A09}">
      <dgm:prSet/>
      <dgm:spPr/>
      <dgm:t>
        <a:bodyPr/>
        <a:lstStyle/>
        <a:p>
          <a:endParaRPr lang="zh-CN" altLang="en-US"/>
        </a:p>
      </dgm:t>
    </dgm:pt>
    <dgm:pt modelId="{08CFAEA4-50DB-4897-ABFD-B1F0A72AAE3B}" type="sibTrans" cxnId="{E39B8F6D-5945-4841-82F6-9061CBC31A09}">
      <dgm:prSet/>
      <dgm:spPr/>
      <dgm:t>
        <a:bodyPr/>
        <a:lstStyle/>
        <a:p>
          <a:endParaRPr lang="zh-CN" altLang="en-US"/>
        </a:p>
      </dgm:t>
    </dgm:pt>
    <dgm:pt modelId="{15A2F818-6605-4415-975F-56340116A732}">
      <dgm:prSet phldrT="[文本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altLang="zh-CN" dirty="0" smtClean="0"/>
            <a:t>Data</a:t>
          </a:r>
        </a:p>
        <a:p>
          <a:r>
            <a:rPr lang="en-US" altLang="zh-CN" dirty="0" smtClean="0"/>
            <a:t>Center </a:t>
          </a:r>
          <a:endParaRPr lang="zh-CN" altLang="en-US" dirty="0"/>
        </a:p>
      </dgm:t>
    </dgm:pt>
    <dgm:pt modelId="{7AF86499-469E-4083-98AB-1510EE4C1302}" type="parTrans" cxnId="{901B87E0-4D41-4CC7-864B-6F8EC17D985D}">
      <dgm:prSet/>
      <dgm:spPr/>
      <dgm:t>
        <a:bodyPr/>
        <a:lstStyle/>
        <a:p>
          <a:endParaRPr lang="zh-CN" altLang="en-US"/>
        </a:p>
      </dgm:t>
    </dgm:pt>
    <dgm:pt modelId="{F0859F20-6B3D-4A0B-A6CE-FE6495A6F293}" type="sibTrans" cxnId="{901B87E0-4D41-4CC7-864B-6F8EC17D985D}">
      <dgm:prSet/>
      <dgm:spPr/>
      <dgm:t>
        <a:bodyPr/>
        <a:lstStyle/>
        <a:p>
          <a:endParaRPr lang="zh-CN" altLang="en-US"/>
        </a:p>
      </dgm:t>
    </dgm:pt>
    <dgm:pt modelId="{1080FA63-B1D0-4808-AF16-4E37B6B096C3}">
      <dgm:prSet phldrT="[文本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0" i="0" dirty="0" smtClean="0"/>
            <a:t>Data mining</a:t>
          </a:r>
          <a:endParaRPr lang="zh-CN" altLang="en-US" dirty="0"/>
        </a:p>
      </dgm:t>
    </dgm:pt>
    <dgm:pt modelId="{1FF134D2-7439-4E0B-8698-32FAFB3B5808}" type="parTrans" cxnId="{F8A6AEE0-9DD1-4909-8ECB-78ADD2ADE8F3}">
      <dgm:prSet/>
      <dgm:spPr/>
      <dgm:t>
        <a:bodyPr/>
        <a:lstStyle/>
        <a:p>
          <a:endParaRPr lang="zh-CN" altLang="en-US"/>
        </a:p>
      </dgm:t>
    </dgm:pt>
    <dgm:pt modelId="{ADF6EC8D-8445-4609-8914-52B1957A02D2}" type="sibTrans" cxnId="{F8A6AEE0-9DD1-4909-8ECB-78ADD2ADE8F3}">
      <dgm:prSet/>
      <dgm:spPr/>
      <dgm:t>
        <a:bodyPr/>
        <a:lstStyle/>
        <a:p>
          <a:endParaRPr lang="zh-CN" altLang="en-US"/>
        </a:p>
      </dgm:t>
    </dgm:pt>
    <dgm:pt modelId="{FD350137-7F30-492F-A76E-6C9BB902CB94}" type="pres">
      <dgm:prSet presAssocID="{ACCBC1D6-062B-4067-856D-24C3EE110234}" presName="compositeShape" presStyleCnt="0">
        <dgm:presLayoutVars>
          <dgm:chMax val="7"/>
          <dgm:dir/>
          <dgm:resizeHandles val="exact"/>
        </dgm:presLayoutVars>
      </dgm:prSet>
      <dgm:spPr/>
    </dgm:pt>
    <dgm:pt modelId="{1022CB71-A233-4983-B315-4075CF4BAA66}" type="pres">
      <dgm:prSet presAssocID="{ACCBC1D6-062B-4067-856D-24C3EE110234}" presName="wedge1" presStyleLbl="node1" presStyleIdx="0" presStyleCnt="3"/>
      <dgm:spPr/>
      <dgm:t>
        <a:bodyPr/>
        <a:lstStyle/>
        <a:p>
          <a:endParaRPr lang="zh-CN" altLang="en-US"/>
        </a:p>
      </dgm:t>
    </dgm:pt>
    <dgm:pt modelId="{30E10DB7-DD13-4A43-854F-BDA3F580E595}" type="pres">
      <dgm:prSet presAssocID="{ACCBC1D6-062B-4067-856D-24C3EE110234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CC2F384-8267-4EBE-89FA-D8B9E7A73E13}" type="pres">
      <dgm:prSet presAssocID="{ACCBC1D6-062B-4067-856D-24C3EE110234}" presName="wedge2" presStyleLbl="node1" presStyleIdx="1" presStyleCnt="3"/>
      <dgm:spPr/>
      <dgm:t>
        <a:bodyPr/>
        <a:lstStyle/>
        <a:p>
          <a:endParaRPr lang="zh-CN" altLang="en-US"/>
        </a:p>
      </dgm:t>
    </dgm:pt>
    <dgm:pt modelId="{088CA6D4-F264-4F5E-88D9-B3F6DFC9ED69}" type="pres">
      <dgm:prSet presAssocID="{ACCBC1D6-062B-4067-856D-24C3EE110234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F23E53E-F80F-479D-AEEE-0406C533B364}" type="pres">
      <dgm:prSet presAssocID="{ACCBC1D6-062B-4067-856D-24C3EE110234}" presName="wedge3" presStyleLbl="node1" presStyleIdx="2" presStyleCnt="3"/>
      <dgm:spPr/>
      <dgm:t>
        <a:bodyPr/>
        <a:lstStyle/>
        <a:p>
          <a:endParaRPr lang="zh-CN" altLang="en-US"/>
        </a:p>
      </dgm:t>
    </dgm:pt>
    <dgm:pt modelId="{164BD7BE-4E51-4B60-988E-E754357D55D9}" type="pres">
      <dgm:prSet presAssocID="{ACCBC1D6-062B-4067-856D-24C3EE110234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E39B8F6D-5945-4841-82F6-9061CBC31A09}" srcId="{ACCBC1D6-062B-4067-856D-24C3EE110234}" destId="{94F70559-F992-4582-87D0-0DCB5536AC7C}" srcOrd="0" destOrd="0" parTransId="{91845617-B1D4-4E19-BBED-A803A87CF27A}" sibTransId="{08CFAEA4-50DB-4897-ABFD-B1F0A72AAE3B}"/>
    <dgm:cxn modelId="{685A9482-8E1A-4E1C-AAF4-6F34A45AC926}" type="presOf" srcId="{94F70559-F992-4582-87D0-0DCB5536AC7C}" destId="{1022CB71-A233-4983-B315-4075CF4BAA66}" srcOrd="0" destOrd="0" presId="urn:microsoft.com/office/officeart/2005/8/layout/chart3"/>
    <dgm:cxn modelId="{DF6EAFCF-FAE0-426F-ACD5-EBE2FF9AB434}" type="presOf" srcId="{1080FA63-B1D0-4808-AF16-4E37B6B096C3}" destId="{088CA6D4-F264-4F5E-88D9-B3F6DFC9ED69}" srcOrd="1" destOrd="0" presId="urn:microsoft.com/office/officeart/2005/8/layout/chart3"/>
    <dgm:cxn modelId="{F8A6AEE0-9DD1-4909-8ECB-78ADD2ADE8F3}" srcId="{ACCBC1D6-062B-4067-856D-24C3EE110234}" destId="{1080FA63-B1D0-4808-AF16-4E37B6B096C3}" srcOrd="1" destOrd="0" parTransId="{1FF134D2-7439-4E0B-8698-32FAFB3B5808}" sibTransId="{ADF6EC8D-8445-4609-8914-52B1957A02D2}"/>
    <dgm:cxn modelId="{CD536D54-EF24-49C7-97BA-5C39F0E8B676}" type="presOf" srcId="{15A2F818-6605-4415-975F-56340116A732}" destId="{6F23E53E-F80F-479D-AEEE-0406C533B364}" srcOrd="0" destOrd="0" presId="urn:microsoft.com/office/officeart/2005/8/layout/chart3"/>
    <dgm:cxn modelId="{20F78AA8-14F1-4299-B16E-3B67348FAABD}" type="presOf" srcId="{1080FA63-B1D0-4808-AF16-4E37B6B096C3}" destId="{3CC2F384-8267-4EBE-89FA-D8B9E7A73E13}" srcOrd="0" destOrd="0" presId="urn:microsoft.com/office/officeart/2005/8/layout/chart3"/>
    <dgm:cxn modelId="{8553212F-D0DA-46D4-A3FF-9B76931CC5EF}" type="presOf" srcId="{ACCBC1D6-062B-4067-856D-24C3EE110234}" destId="{FD350137-7F30-492F-A76E-6C9BB902CB94}" srcOrd="0" destOrd="0" presId="urn:microsoft.com/office/officeart/2005/8/layout/chart3"/>
    <dgm:cxn modelId="{901B87E0-4D41-4CC7-864B-6F8EC17D985D}" srcId="{ACCBC1D6-062B-4067-856D-24C3EE110234}" destId="{15A2F818-6605-4415-975F-56340116A732}" srcOrd="2" destOrd="0" parTransId="{7AF86499-469E-4083-98AB-1510EE4C1302}" sibTransId="{F0859F20-6B3D-4A0B-A6CE-FE6495A6F293}"/>
    <dgm:cxn modelId="{46904771-7296-4FE0-9BBB-8E81ADB059F0}" type="presOf" srcId="{94F70559-F992-4582-87D0-0DCB5536AC7C}" destId="{30E10DB7-DD13-4A43-854F-BDA3F580E595}" srcOrd="1" destOrd="0" presId="urn:microsoft.com/office/officeart/2005/8/layout/chart3"/>
    <dgm:cxn modelId="{81A2E845-8858-4829-B3C4-C025AAC91766}" type="presOf" srcId="{15A2F818-6605-4415-975F-56340116A732}" destId="{164BD7BE-4E51-4B60-988E-E754357D55D9}" srcOrd="1" destOrd="0" presId="urn:microsoft.com/office/officeart/2005/8/layout/chart3"/>
    <dgm:cxn modelId="{BA41868F-CF35-4057-9105-26105D11FC77}" type="presParOf" srcId="{FD350137-7F30-492F-A76E-6C9BB902CB94}" destId="{1022CB71-A233-4983-B315-4075CF4BAA66}" srcOrd="0" destOrd="0" presId="urn:microsoft.com/office/officeart/2005/8/layout/chart3"/>
    <dgm:cxn modelId="{44C0CDA7-FF86-4C20-992C-84409A239727}" type="presParOf" srcId="{FD350137-7F30-492F-A76E-6C9BB902CB94}" destId="{30E10DB7-DD13-4A43-854F-BDA3F580E595}" srcOrd="1" destOrd="0" presId="urn:microsoft.com/office/officeart/2005/8/layout/chart3"/>
    <dgm:cxn modelId="{16567C3F-15C2-4504-A4C8-04FF4081D59D}" type="presParOf" srcId="{FD350137-7F30-492F-A76E-6C9BB902CB94}" destId="{3CC2F384-8267-4EBE-89FA-D8B9E7A73E13}" srcOrd="2" destOrd="0" presId="urn:microsoft.com/office/officeart/2005/8/layout/chart3"/>
    <dgm:cxn modelId="{21B47705-3163-4856-B3E9-541F604D36A9}" type="presParOf" srcId="{FD350137-7F30-492F-A76E-6C9BB902CB94}" destId="{088CA6D4-F264-4F5E-88D9-B3F6DFC9ED69}" srcOrd="3" destOrd="0" presId="urn:microsoft.com/office/officeart/2005/8/layout/chart3"/>
    <dgm:cxn modelId="{7EECA206-8598-4522-9E6A-F76D096B7BC1}" type="presParOf" srcId="{FD350137-7F30-492F-A76E-6C9BB902CB94}" destId="{6F23E53E-F80F-479D-AEEE-0406C533B364}" srcOrd="4" destOrd="0" presId="urn:microsoft.com/office/officeart/2005/8/layout/chart3"/>
    <dgm:cxn modelId="{23C55763-33AB-42E6-8D79-47EBC7C61E77}" type="presParOf" srcId="{FD350137-7F30-492F-A76E-6C9BB902CB94}" destId="{164BD7BE-4E51-4B60-988E-E754357D55D9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1AA4A59-E5B3-4892-92EF-C5DDAAAD0E87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411A113F-7121-4124-8594-BB4A75B05E2E}">
      <dgm:prSet phldrT="[文本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dirty="0" smtClean="0"/>
            <a:t>业务系统</a:t>
          </a:r>
          <a:r>
            <a:rPr lang="en-US" altLang="zh-CN" dirty="0" smtClean="0"/>
            <a:t>1</a:t>
          </a:r>
          <a:endParaRPr lang="zh-CN" altLang="en-US" dirty="0"/>
        </a:p>
      </dgm:t>
    </dgm:pt>
    <dgm:pt modelId="{7DCA4887-DB87-40F6-B66B-C9E0A52FB9E2}" type="parTrans" cxnId="{D09205F3-88E6-4161-8356-CF29EF7331AA}">
      <dgm:prSet/>
      <dgm:spPr/>
      <dgm:t>
        <a:bodyPr/>
        <a:lstStyle/>
        <a:p>
          <a:endParaRPr lang="zh-CN" altLang="en-US"/>
        </a:p>
      </dgm:t>
    </dgm:pt>
    <dgm:pt modelId="{124D94B9-2062-4DFC-962A-562C75926A77}" type="sibTrans" cxnId="{D09205F3-88E6-4161-8356-CF29EF7331AA}">
      <dgm:prSet/>
      <dgm:spPr/>
      <dgm:t>
        <a:bodyPr/>
        <a:lstStyle/>
        <a:p>
          <a:endParaRPr lang="zh-CN" altLang="en-US"/>
        </a:p>
      </dgm:t>
    </dgm:pt>
    <dgm:pt modelId="{BAD40D2C-48FE-48DC-9B66-205B4A64D16F}">
      <dgm:prSet phldrT="[文本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dirty="0" smtClean="0"/>
            <a:t>业务系统</a:t>
          </a:r>
          <a:r>
            <a:rPr lang="en-US" altLang="zh-CN" dirty="0" smtClean="0"/>
            <a:t>2</a:t>
          </a:r>
          <a:endParaRPr lang="zh-CN" altLang="en-US" dirty="0"/>
        </a:p>
      </dgm:t>
    </dgm:pt>
    <dgm:pt modelId="{E908CD34-9755-454C-A4D7-C901411E1BA3}" type="parTrans" cxnId="{1E8C7041-FDEF-417D-B16F-AA55D9643D17}">
      <dgm:prSet/>
      <dgm:spPr/>
      <dgm:t>
        <a:bodyPr/>
        <a:lstStyle/>
        <a:p>
          <a:endParaRPr lang="zh-CN" altLang="en-US"/>
        </a:p>
      </dgm:t>
    </dgm:pt>
    <dgm:pt modelId="{B23CAA14-13A0-40C2-ADF9-CEE9BA027933}" type="sibTrans" cxnId="{1E8C7041-FDEF-417D-B16F-AA55D9643D17}">
      <dgm:prSet/>
      <dgm:spPr/>
      <dgm:t>
        <a:bodyPr/>
        <a:lstStyle/>
        <a:p>
          <a:endParaRPr lang="zh-CN" altLang="en-US"/>
        </a:p>
      </dgm:t>
    </dgm:pt>
    <dgm:pt modelId="{A302D7D6-CE42-4DA8-A699-BAB32269CAEC}">
      <dgm:prSet phldrT="[文本]"/>
      <dgm:spPr/>
      <dgm:t>
        <a:bodyPr/>
        <a:lstStyle/>
        <a:p>
          <a:r>
            <a:rPr lang="zh-CN" altLang="en-US" dirty="0" smtClean="0"/>
            <a:t>业务系统</a:t>
          </a:r>
          <a:r>
            <a:rPr lang="en-US" altLang="zh-CN" dirty="0" smtClean="0"/>
            <a:t>3</a:t>
          </a:r>
          <a:endParaRPr lang="zh-CN" altLang="en-US" dirty="0"/>
        </a:p>
      </dgm:t>
    </dgm:pt>
    <dgm:pt modelId="{192E3B56-E302-4107-80B5-E1D708C579AF}" type="parTrans" cxnId="{4C1B26D6-9A37-4C88-A790-E7BBC54D93CC}">
      <dgm:prSet/>
      <dgm:spPr/>
      <dgm:t>
        <a:bodyPr/>
        <a:lstStyle/>
        <a:p>
          <a:endParaRPr lang="zh-CN" altLang="en-US"/>
        </a:p>
      </dgm:t>
    </dgm:pt>
    <dgm:pt modelId="{8D8D15E1-28F9-4D18-A3F9-40FC83C0EC76}" type="sibTrans" cxnId="{4C1B26D6-9A37-4C88-A790-E7BBC54D93CC}">
      <dgm:prSet/>
      <dgm:spPr/>
      <dgm:t>
        <a:bodyPr/>
        <a:lstStyle/>
        <a:p>
          <a:endParaRPr lang="zh-CN" altLang="en-US"/>
        </a:p>
      </dgm:t>
    </dgm:pt>
    <dgm:pt modelId="{C56D7A8F-B2E3-458D-AF50-2981B15ACE08}" type="pres">
      <dgm:prSet presAssocID="{E1AA4A59-E5B3-4892-92EF-C5DDAAAD0E87}" presName="CompostProcess" presStyleCnt="0">
        <dgm:presLayoutVars>
          <dgm:dir/>
          <dgm:resizeHandles val="exact"/>
        </dgm:presLayoutVars>
      </dgm:prSet>
      <dgm:spPr/>
    </dgm:pt>
    <dgm:pt modelId="{EFAFB07C-CA93-4C5F-A45D-BA28904C5907}" type="pres">
      <dgm:prSet presAssocID="{E1AA4A59-E5B3-4892-92EF-C5DDAAAD0E87}" presName="arrow" presStyleLbl="bgShp" presStyleIdx="0" presStyleCnt="1"/>
      <dgm:spPr/>
    </dgm:pt>
    <dgm:pt modelId="{C1142B37-93AD-442A-AD77-E3D206FF88FC}" type="pres">
      <dgm:prSet presAssocID="{E1AA4A59-E5B3-4892-92EF-C5DDAAAD0E87}" presName="linearProcess" presStyleCnt="0"/>
      <dgm:spPr/>
    </dgm:pt>
    <dgm:pt modelId="{FB63B2AF-4CE8-45AF-896C-3D32C368D634}" type="pres">
      <dgm:prSet presAssocID="{411A113F-7121-4124-8594-BB4A75B05E2E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B8A1F33-EDC2-4F73-89A5-4AE046759A4F}" type="pres">
      <dgm:prSet presAssocID="{124D94B9-2062-4DFC-962A-562C75926A77}" presName="sibTrans" presStyleCnt="0"/>
      <dgm:spPr/>
    </dgm:pt>
    <dgm:pt modelId="{09DDE54B-0CB7-48AA-B62F-13605259E16E}" type="pres">
      <dgm:prSet presAssocID="{BAD40D2C-48FE-48DC-9B66-205B4A64D16F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5CC1A42-CAD2-431A-95D3-4E2683B9BDFA}" type="pres">
      <dgm:prSet presAssocID="{B23CAA14-13A0-40C2-ADF9-CEE9BA027933}" presName="sibTrans" presStyleCnt="0"/>
      <dgm:spPr/>
    </dgm:pt>
    <dgm:pt modelId="{D32A8E6C-33CC-426B-8B90-98F332698F10}" type="pres">
      <dgm:prSet presAssocID="{A302D7D6-CE42-4DA8-A699-BAB32269CAEC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47972509-92FB-4783-88FC-0BCA7048EFD2}" type="presOf" srcId="{A302D7D6-CE42-4DA8-A699-BAB32269CAEC}" destId="{D32A8E6C-33CC-426B-8B90-98F332698F10}" srcOrd="0" destOrd="0" presId="urn:microsoft.com/office/officeart/2005/8/layout/hProcess9"/>
    <dgm:cxn modelId="{1E8C7041-FDEF-417D-B16F-AA55D9643D17}" srcId="{E1AA4A59-E5B3-4892-92EF-C5DDAAAD0E87}" destId="{BAD40D2C-48FE-48DC-9B66-205B4A64D16F}" srcOrd="1" destOrd="0" parTransId="{E908CD34-9755-454C-A4D7-C901411E1BA3}" sibTransId="{B23CAA14-13A0-40C2-ADF9-CEE9BA027933}"/>
    <dgm:cxn modelId="{4C1B26D6-9A37-4C88-A790-E7BBC54D93CC}" srcId="{E1AA4A59-E5B3-4892-92EF-C5DDAAAD0E87}" destId="{A302D7D6-CE42-4DA8-A699-BAB32269CAEC}" srcOrd="2" destOrd="0" parTransId="{192E3B56-E302-4107-80B5-E1D708C579AF}" sibTransId="{8D8D15E1-28F9-4D18-A3F9-40FC83C0EC76}"/>
    <dgm:cxn modelId="{CD72A715-ECC0-4934-B0EF-6497217CFD09}" type="presOf" srcId="{411A113F-7121-4124-8594-BB4A75B05E2E}" destId="{FB63B2AF-4CE8-45AF-896C-3D32C368D634}" srcOrd="0" destOrd="0" presId="urn:microsoft.com/office/officeart/2005/8/layout/hProcess9"/>
    <dgm:cxn modelId="{DAA181A7-8212-4869-BD51-645141939759}" type="presOf" srcId="{E1AA4A59-E5B3-4892-92EF-C5DDAAAD0E87}" destId="{C56D7A8F-B2E3-458D-AF50-2981B15ACE08}" srcOrd="0" destOrd="0" presId="urn:microsoft.com/office/officeart/2005/8/layout/hProcess9"/>
    <dgm:cxn modelId="{D09205F3-88E6-4161-8356-CF29EF7331AA}" srcId="{E1AA4A59-E5B3-4892-92EF-C5DDAAAD0E87}" destId="{411A113F-7121-4124-8594-BB4A75B05E2E}" srcOrd="0" destOrd="0" parTransId="{7DCA4887-DB87-40F6-B66B-C9E0A52FB9E2}" sibTransId="{124D94B9-2062-4DFC-962A-562C75926A77}"/>
    <dgm:cxn modelId="{70E572C8-F3EB-4D6E-BA91-2E2C803B3B2B}" type="presOf" srcId="{BAD40D2C-48FE-48DC-9B66-205B4A64D16F}" destId="{09DDE54B-0CB7-48AA-B62F-13605259E16E}" srcOrd="0" destOrd="0" presId="urn:microsoft.com/office/officeart/2005/8/layout/hProcess9"/>
    <dgm:cxn modelId="{B0916E0A-6A9E-4851-B9C9-034D5FAE8AD0}" type="presParOf" srcId="{C56D7A8F-B2E3-458D-AF50-2981B15ACE08}" destId="{EFAFB07C-CA93-4C5F-A45D-BA28904C5907}" srcOrd="0" destOrd="0" presId="urn:microsoft.com/office/officeart/2005/8/layout/hProcess9"/>
    <dgm:cxn modelId="{1E0AB696-04AD-46D3-8C8A-A82BB25BAB94}" type="presParOf" srcId="{C56D7A8F-B2E3-458D-AF50-2981B15ACE08}" destId="{C1142B37-93AD-442A-AD77-E3D206FF88FC}" srcOrd="1" destOrd="0" presId="urn:microsoft.com/office/officeart/2005/8/layout/hProcess9"/>
    <dgm:cxn modelId="{769A1A3E-DDCC-4AB0-BF4B-F12D010C4B57}" type="presParOf" srcId="{C1142B37-93AD-442A-AD77-E3D206FF88FC}" destId="{FB63B2AF-4CE8-45AF-896C-3D32C368D634}" srcOrd="0" destOrd="0" presId="urn:microsoft.com/office/officeart/2005/8/layout/hProcess9"/>
    <dgm:cxn modelId="{EDFC91B7-96EE-4DFA-A779-341C3E1B17ED}" type="presParOf" srcId="{C1142B37-93AD-442A-AD77-E3D206FF88FC}" destId="{9B8A1F33-EDC2-4F73-89A5-4AE046759A4F}" srcOrd="1" destOrd="0" presId="urn:microsoft.com/office/officeart/2005/8/layout/hProcess9"/>
    <dgm:cxn modelId="{FB3223DC-9CEF-4CA5-AAFB-67D477D97F8F}" type="presParOf" srcId="{C1142B37-93AD-442A-AD77-E3D206FF88FC}" destId="{09DDE54B-0CB7-48AA-B62F-13605259E16E}" srcOrd="2" destOrd="0" presId="urn:microsoft.com/office/officeart/2005/8/layout/hProcess9"/>
    <dgm:cxn modelId="{45DC3B3B-7A1D-474C-868F-91DCE659BB62}" type="presParOf" srcId="{C1142B37-93AD-442A-AD77-E3D206FF88FC}" destId="{E5CC1A42-CAD2-431A-95D3-4E2683B9BDFA}" srcOrd="3" destOrd="0" presId="urn:microsoft.com/office/officeart/2005/8/layout/hProcess9"/>
    <dgm:cxn modelId="{6FD79FB6-C3F2-40C9-9779-A5D58FDD837C}" type="presParOf" srcId="{C1142B37-93AD-442A-AD77-E3D206FF88FC}" destId="{D32A8E6C-33CC-426B-8B90-98F332698F10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3D576A0-1F36-4420-BC47-D5A4B06E6277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BFBBE708-1193-454D-9056-8450CCE56A0E}">
      <dgm:prSet phldrT="[文本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zh-CN" altLang="en-US" dirty="0" smtClean="0"/>
            <a:t>使用方</a:t>
          </a:r>
          <a:endParaRPr lang="zh-CN" altLang="en-US" dirty="0"/>
        </a:p>
      </dgm:t>
    </dgm:pt>
    <dgm:pt modelId="{4ED8152A-965D-4CA8-93C5-42BED00F30E4}" type="parTrans" cxnId="{96258196-E3D8-4823-9FD0-6397E5FC2907}">
      <dgm:prSet/>
      <dgm:spPr/>
      <dgm:t>
        <a:bodyPr/>
        <a:lstStyle/>
        <a:p>
          <a:endParaRPr lang="zh-CN" altLang="en-US"/>
        </a:p>
      </dgm:t>
    </dgm:pt>
    <dgm:pt modelId="{E34FC3AB-C8B8-4B90-96C7-F9DDB85F7066}" type="sibTrans" cxnId="{96258196-E3D8-4823-9FD0-6397E5FC2907}">
      <dgm:prSet/>
      <dgm:spPr/>
      <dgm:t>
        <a:bodyPr/>
        <a:lstStyle/>
        <a:p>
          <a:endParaRPr lang="zh-CN" altLang="en-US"/>
        </a:p>
      </dgm:t>
    </dgm:pt>
    <dgm:pt modelId="{A22DE636-F2C6-4DD5-B81B-41FCC11DD0F2}" type="asst">
      <dgm:prSet phldrT="[文本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altLang="zh-CN" dirty="0" err="1" smtClean="0"/>
            <a:t>LoadBalance</a:t>
          </a:r>
          <a:endParaRPr lang="zh-CN" altLang="en-US" dirty="0"/>
        </a:p>
      </dgm:t>
    </dgm:pt>
    <dgm:pt modelId="{E9CD3CCE-15A7-43B6-97DD-413015BCD7D8}" type="parTrans" cxnId="{7E4CB720-7598-4D53-B495-717AB7EE69B4}">
      <dgm:prSet/>
      <dgm:spPr/>
      <dgm:t>
        <a:bodyPr/>
        <a:lstStyle/>
        <a:p>
          <a:endParaRPr lang="zh-CN" altLang="en-US"/>
        </a:p>
      </dgm:t>
    </dgm:pt>
    <dgm:pt modelId="{4B6F4CD5-DBCA-4B77-9F3B-5A703E065273}" type="sibTrans" cxnId="{7E4CB720-7598-4D53-B495-717AB7EE69B4}">
      <dgm:prSet/>
      <dgm:spPr/>
      <dgm:t>
        <a:bodyPr/>
        <a:lstStyle/>
        <a:p>
          <a:endParaRPr lang="zh-CN" altLang="en-US"/>
        </a:p>
      </dgm:t>
    </dgm:pt>
    <dgm:pt modelId="{1234ED1D-7799-4D01-BDFA-BCC413613527}">
      <dgm:prSet phldrT="[文本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altLang="zh-CN" dirty="0" smtClean="0"/>
            <a:t>MQ</a:t>
          </a:r>
          <a:r>
            <a:rPr lang="zh-CN" altLang="en-US" dirty="0" smtClean="0"/>
            <a:t>集群</a:t>
          </a:r>
          <a:endParaRPr lang="zh-CN" altLang="en-US" dirty="0"/>
        </a:p>
      </dgm:t>
    </dgm:pt>
    <dgm:pt modelId="{D5BA7229-20D8-43E4-9822-17D989B7F79B}" type="parTrans" cxnId="{4C790638-A20C-4C51-AD37-4EB7E37F2D31}">
      <dgm:prSet/>
      <dgm:spPr/>
      <dgm:t>
        <a:bodyPr/>
        <a:lstStyle/>
        <a:p>
          <a:endParaRPr lang="zh-CN" altLang="en-US"/>
        </a:p>
      </dgm:t>
    </dgm:pt>
    <dgm:pt modelId="{2E2C99C3-FAD2-4D8E-9FF5-72830DFD128E}" type="sibTrans" cxnId="{4C790638-A20C-4C51-AD37-4EB7E37F2D31}">
      <dgm:prSet/>
      <dgm:spPr/>
      <dgm:t>
        <a:bodyPr/>
        <a:lstStyle/>
        <a:p>
          <a:endParaRPr lang="zh-CN" altLang="en-US"/>
        </a:p>
      </dgm:t>
    </dgm:pt>
    <dgm:pt modelId="{D0E7C87B-C75D-4558-BCAA-0B9EACD3D065}">
      <dgm:prSet phldrT="[文本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altLang="zh-CN" dirty="0" smtClean="0"/>
            <a:t>UDP</a:t>
          </a:r>
          <a:r>
            <a:rPr lang="zh-CN" altLang="en-US" dirty="0" smtClean="0"/>
            <a:t>集群</a:t>
          </a:r>
          <a:endParaRPr lang="zh-CN" altLang="en-US" dirty="0"/>
        </a:p>
      </dgm:t>
    </dgm:pt>
    <dgm:pt modelId="{B3684222-7ED8-42F0-B78F-7E781A930BB4}" type="parTrans" cxnId="{60127E12-8C24-40B3-A7BE-4CB6BBE831B5}">
      <dgm:prSet/>
      <dgm:spPr/>
      <dgm:t>
        <a:bodyPr/>
        <a:lstStyle/>
        <a:p>
          <a:endParaRPr lang="zh-CN" altLang="en-US"/>
        </a:p>
      </dgm:t>
    </dgm:pt>
    <dgm:pt modelId="{952926E6-3F9E-42A8-9BDE-09F8CA38945D}" type="sibTrans" cxnId="{60127E12-8C24-40B3-A7BE-4CB6BBE831B5}">
      <dgm:prSet/>
      <dgm:spPr/>
      <dgm:t>
        <a:bodyPr/>
        <a:lstStyle/>
        <a:p>
          <a:endParaRPr lang="zh-CN" altLang="en-US"/>
        </a:p>
      </dgm:t>
    </dgm:pt>
    <dgm:pt modelId="{9816DBD5-4A6E-42FA-A45A-E6A165EB0B89}">
      <dgm:prSet phldrT="[文本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altLang="zh-CN" dirty="0" smtClean="0"/>
            <a:t>Cache</a:t>
          </a:r>
          <a:r>
            <a:rPr lang="zh-CN" altLang="en-US" dirty="0" smtClean="0"/>
            <a:t>集群</a:t>
          </a:r>
          <a:endParaRPr lang="zh-CN" altLang="en-US" dirty="0"/>
        </a:p>
      </dgm:t>
    </dgm:pt>
    <dgm:pt modelId="{2834904E-686E-4D12-BB2E-8243FE2E6FF8}" type="parTrans" cxnId="{09C661F2-A2EE-4D85-9CAE-18795C29E25A}">
      <dgm:prSet/>
      <dgm:spPr/>
      <dgm:t>
        <a:bodyPr/>
        <a:lstStyle/>
        <a:p>
          <a:endParaRPr lang="zh-CN" altLang="en-US"/>
        </a:p>
      </dgm:t>
    </dgm:pt>
    <dgm:pt modelId="{CAA74211-BADD-4C21-819B-19B7159E5354}" type="sibTrans" cxnId="{09C661F2-A2EE-4D85-9CAE-18795C29E25A}">
      <dgm:prSet/>
      <dgm:spPr/>
      <dgm:t>
        <a:bodyPr/>
        <a:lstStyle/>
        <a:p>
          <a:endParaRPr lang="zh-CN" altLang="en-US"/>
        </a:p>
      </dgm:t>
    </dgm:pt>
    <dgm:pt modelId="{3ECB3CC0-6A4E-4457-B223-0F32BE11417D}">
      <dgm:prSet phldrT="[文本]"/>
      <dgm:spPr/>
      <dgm:t>
        <a:bodyPr/>
        <a:lstStyle/>
        <a:p>
          <a:r>
            <a:rPr lang="en-US" altLang="zh-CN" dirty="0" smtClean="0"/>
            <a:t>Gateway</a:t>
          </a:r>
          <a:endParaRPr lang="zh-CN" altLang="en-US" dirty="0"/>
        </a:p>
      </dgm:t>
    </dgm:pt>
    <dgm:pt modelId="{EFDD2F5B-5822-458E-9284-926E6ECB702B}" type="parTrans" cxnId="{CBEC00FA-C48E-4FF9-878D-2A77C409114B}">
      <dgm:prSet/>
      <dgm:spPr/>
      <dgm:t>
        <a:bodyPr/>
        <a:lstStyle/>
        <a:p>
          <a:endParaRPr lang="zh-CN" altLang="en-US"/>
        </a:p>
      </dgm:t>
    </dgm:pt>
    <dgm:pt modelId="{B8F0FDA3-BD2F-448C-B954-A6195854EE5D}" type="sibTrans" cxnId="{CBEC00FA-C48E-4FF9-878D-2A77C409114B}">
      <dgm:prSet/>
      <dgm:spPr/>
      <dgm:t>
        <a:bodyPr/>
        <a:lstStyle/>
        <a:p>
          <a:endParaRPr lang="zh-CN" altLang="en-US"/>
        </a:p>
      </dgm:t>
    </dgm:pt>
    <dgm:pt modelId="{8F32E4C9-CDE2-45A5-B039-8CE471D94390}" type="asst">
      <dgm:prSet phldrT="[文本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altLang="zh-CN" dirty="0" smtClean="0"/>
            <a:t>F5/LVS</a:t>
          </a:r>
          <a:endParaRPr lang="zh-CN" altLang="en-US" dirty="0"/>
        </a:p>
      </dgm:t>
    </dgm:pt>
    <dgm:pt modelId="{40E5230C-94D2-4620-ADFB-F000155FE6CE}" type="parTrans" cxnId="{4D1EC3F8-986F-4E1F-B67E-686CF0095F9C}">
      <dgm:prSet/>
      <dgm:spPr/>
      <dgm:t>
        <a:bodyPr/>
        <a:lstStyle/>
        <a:p>
          <a:endParaRPr lang="zh-CN" altLang="en-US"/>
        </a:p>
      </dgm:t>
    </dgm:pt>
    <dgm:pt modelId="{4AB67C5E-4142-42C8-84C2-C70701A4D7F0}" type="sibTrans" cxnId="{4D1EC3F8-986F-4E1F-B67E-686CF0095F9C}">
      <dgm:prSet/>
      <dgm:spPr/>
      <dgm:t>
        <a:bodyPr/>
        <a:lstStyle/>
        <a:p>
          <a:endParaRPr lang="zh-CN" altLang="en-US"/>
        </a:p>
      </dgm:t>
    </dgm:pt>
    <dgm:pt modelId="{AB95ED99-483B-400A-B134-2C747C18C8FC}" type="pres">
      <dgm:prSet presAssocID="{33D576A0-1F36-4420-BC47-D5A4B06E627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3380103-38F0-47CB-89EC-E71387303028}" type="pres">
      <dgm:prSet presAssocID="{BFBBE708-1193-454D-9056-8450CCE56A0E}" presName="hierRoot1" presStyleCnt="0">
        <dgm:presLayoutVars>
          <dgm:hierBranch val="init"/>
        </dgm:presLayoutVars>
      </dgm:prSet>
      <dgm:spPr/>
    </dgm:pt>
    <dgm:pt modelId="{AE3ED8DA-256C-4C09-ABA5-6B53A3CBEA52}" type="pres">
      <dgm:prSet presAssocID="{BFBBE708-1193-454D-9056-8450CCE56A0E}" presName="rootComposite1" presStyleCnt="0"/>
      <dgm:spPr/>
    </dgm:pt>
    <dgm:pt modelId="{56792C8B-7FB7-452A-BA6B-D4B14209E3F7}" type="pres">
      <dgm:prSet presAssocID="{BFBBE708-1193-454D-9056-8450CCE56A0E}" presName="rootText1" presStyleLbl="node0" presStyleIdx="0" presStyleCnt="1">
        <dgm:presLayoutVars>
          <dgm:chPref val="3"/>
        </dgm:presLayoutVars>
      </dgm:prSet>
      <dgm:spPr/>
    </dgm:pt>
    <dgm:pt modelId="{A5DA4C34-01F6-4223-A624-45A17AC99EBF}" type="pres">
      <dgm:prSet presAssocID="{BFBBE708-1193-454D-9056-8450CCE56A0E}" presName="rootConnector1" presStyleLbl="node1" presStyleIdx="0" presStyleCnt="0"/>
      <dgm:spPr/>
    </dgm:pt>
    <dgm:pt modelId="{690CA2AF-9457-485C-9F60-94E30022AF1F}" type="pres">
      <dgm:prSet presAssocID="{BFBBE708-1193-454D-9056-8450CCE56A0E}" presName="hierChild2" presStyleCnt="0"/>
      <dgm:spPr/>
    </dgm:pt>
    <dgm:pt modelId="{127C1686-D28E-4203-9010-36100A77DB8B}" type="pres">
      <dgm:prSet presAssocID="{D5BA7229-20D8-43E4-9822-17D989B7F79B}" presName="Name37" presStyleLbl="parChTrans1D2" presStyleIdx="0" presStyleCnt="5"/>
      <dgm:spPr/>
    </dgm:pt>
    <dgm:pt modelId="{07463680-51C0-485E-B110-18465592BFA2}" type="pres">
      <dgm:prSet presAssocID="{1234ED1D-7799-4D01-BDFA-BCC413613527}" presName="hierRoot2" presStyleCnt="0">
        <dgm:presLayoutVars>
          <dgm:hierBranch val="init"/>
        </dgm:presLayoutVars>
      </dgm:prSet>
      <dgm:spPr/>
    </dgm:pt>
    <dgm:pt modelId="{85889412-4578-48F0-93BB-2B5F0B116F43}" type="pres">
      <dgm:prSet presAssocID="{1234ED1D-7799-4D01-BDFA-BCC413613527}" presName="rootComposite" presStyleCnt="0"/>
      <dgm:spPr/>
    </dgm:pt>
    <dgm:pt modelId="{CD4C5DEE-C0FF-45E6-8BEF-F2603FDBBDA9}" type="pres">
      <dgm:prSet presAssocID="{1234ED1D-7799-4D01-BDFA-BCC413613527}" presName="rootText" presStyleLbl="node2" presStyleIdx="0" presStyleCnt="3">
        <dgm:presLayoutVars>
          <dgm:chPref val="3"/>
        </dgm:presLayoutVars>
      </dgm:prSet>
      <dgm:spPr/>
    </dgm:pt>
    <dgm:pt modelId="{5F9951C8-1CBB-4CDF-9CEA-3171D7501CC6}" type="pres">
      <dgm:prSet presAssocID="{1234ED1D-7799-4D01-BDFA-BCC413613527}" presName="rootConnector" presStyleLbl="node2" presStyleIdx="0" presStyleCnt="3"/>
      <dgm:spPr/>
    </dgm:pt>
    <dgm:pt modelId="{4F3D077F-2443-44C6-84AD-AD892C5FBA67}" type="pres">
      <dgm:prSet presAssocID="{1234ED1D-7799-4D01-BDFA-BCC413613527}" presName="hierChild4" presStyleCnt="0"/>
      <dgm:spPr/>
    </dgm:pt>
    <dgm:pt modelId="{904D81C2-F8CD-4D0C-BAC0-3CC446ACD3D7}" type="pres">
      <dgm:prSet presAssocID="{1234ED1D-7799-4D01-BDFA-BCC413613527}" presName="hierChild5" presStyleCnt="0"/>
      <dgm:spPr/>
    </dgm:pt>
    <dgm:pt modelId="{D3D455DD-7204-4EC1-8A86-9DD5450F07AC}" type="pres">
      <dgm:prSet presAssocID="{B3684222-7ED8-42F0-B78F-7E781A930BB4}" presName="Name37" presStyleLbl="parChTrans1D2" presStyleIdx="1" presStyleCnt="5"/>
      <dgm:spPr/>
    </dgm:pt>
    <dgm:pt modelId="{2B8F23FE-91A0-424A-9CF2-CD80F486C555}" type="pres">
      <dgm:prSet presAssocID="{D0E7C87B-C75D-4558-BCAA-0B9EACD3D065}" presName="hierRoot2" presStyleCnt="0">
        <dgm:presLayoutVars>
          <dgm:hierBranch val="init"/>
        </dgm:presLayoutVars>
      </dgm:prSet>
      <dgm:spPr/>
    </dgm:pt>
    <dgm:pt modelId="{63D387AB-75AB-4F2F-BA07-B31134FBAFEF}" type="pres">
      <dgm:prSet presAssocID="{D0E7C87B-C75D-4558-BCAA-0B9EACD3D065}" presName="rootComposite" presStyleCnt="0"/>
      <dgm:spPr/>
    </dgm:pt>
    <dgm:pt modelId="{96BBB19F-F1B9-4354-8205-66D358B25B39}" type="pres">
      <dgm:prSet presAssocID="{D0E7C87B-C75D-4558-BCAA-0B9EACD3D065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DCF7A3D1-C34A-4E77-8CEE-26D5A11547E2}" type="pres">
      <dgm:prSet presAssocID="{D0E7C87B-C75D-4558-BCAA-0B9EACD3D065}" presName="rootConnector" presStyleLbl="node2" presStyleIdx="1" presStyleCnt="3"/>
      <dgm:spPr/>
    </dgm:pt>
    <dgm:pt modelId="{7A7A71C4-AF7E-4FEC-8FE1-9851E56B9BD9}" type="pres">
      <dgm:prSet presAssocID="{D0E7C87B-C75D-4558-BCAA-0B9EACD3D065}" presName="hierChild4" presStyleCnt="0"/>
      <dgm:spPr/>
    </dgm:pt>
    <dgm:pt modelId="{FD9B76A6-BDA2-4B10-9380-1756483D3A80}" type="pres">
      <dgm:prSet presAssocID="{EFDD2F5B-5822-458E-9284-926E6ECB702B}" presName="Name37" presStyleLbl="parChTrans1D3" presStyleIdx="0" presStyleCnt="1"/>
      <dgm:spPr/>
    </dgm:pt>
    <dgm:pt modelId="{35C97D36-AF20-483F-AC07-908FD29C328B}" type="pres">
      <dgm:prSet presAssocID="{3ECB3CC0-6A4E-4457-B223-0F32BE11417D}" presName="hierRoot2" presStyleCnt="0">
        <dgm:presLayoutVars>
          <dgm:hierBranch val="init"/>
        </dgm:presLayoutVars>
      </dgm:prSet>
      <dgm:spPr/>
    </dgm:pt>
    <dgm:pt modelId="{C2BEC780-B42E-461F-8D7C-6D996DACCF45}" type="pres">
      <dgm:prSet presAssocID="{3ECB3CC0-6A4E-4457-B223-0F32BE11417D}" presName="rootComposite" presStyleCnt="0"/>
      <dgm:spPr/>
    </dgm:pt>
    <dgm:pt modelId="{5738E9B7-C5CD-4667-9435-9575C2620D2E}" type="pres">
      <dgm:prSet presAssocID="{3ECB3CC0-6A4E-4457-B223-0F32BE11417D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ACFCC18E-7988-40D3-81E5-09D6D5852148}" type="pres">
      <dgm:prSet presAssocID="{3ECB3CC0-6A4E-4457-B223-0F32BE11417D}" presName="rootConnector" presStyleLbl="node3" presStyleIdx="0" presStyleCnt="1"/>
      <dgm:spPr/>
    </dgm:pt>
    <dgm:pt modelId="{4E0F31A6-D87A-41FF-A380-72E4BECA54B7}" type="pres">
      <dgm:prSet presAssocID="{3ECB3CC0-6A4E-4457-B223-0F32BE11417D}" presName="hierChild4" presStyleCnt="0"/>
      <dgm:spPr/>
    </dgm:pt>
    <dgm:pt modelId="{0E4923B9-B0B7-42FB-BA1B-526D218F08D5}" type="pres">
      <dgm:prSet presAssocID="{3ECB3CC0-6A4E-4457-B223-0F32BE11417D}" presName="hierChild5" presStyleCnt="0"/>
      <dgm:spPr/>
    </dgm:pt>
    <dgm:pt modelId="{3FD0603A-B0F2-48F3-A919-F69B06AE2451}" type="pres">
      <dgm:prSet presAssocID="{D0E7C87B-C75D-4558-BCAA-0B9EACD3D065}" presName="hierChild5" presStyleCnt="0"/>
      <dgm:spPr/>
    </dgm:pt>
    <dgm:pt modelId="{ABFB492C-6526-4DAA-B90D-8B5D39D52C5F}" type="pres">
      <dgm:prSet presAssocID="{2834904E-686E-4D12-BB2E-8243FE2E6FF8}" presName="Name37" presStyleLbl="parChTrans1D2" presStyleIdx="2" presStyleCnt="5"/>
      <dgm:spPr/>
    </dgm:pt>
    <dgm:pt modelId="{2C6D8B90-1D28-4196-94C0-CB0649AAE76B}" type="pres">
      <dgm:prSet presAssocID="{9816DBD5-4A6E-42FA-A45A-E6A165EB0B89}" presName="hierRoot2" presStyleCnt="0">
        <dgm:presLayoutVars>
          <dgm:hierBranch val="init"/>
        </dgm:presLayoutVars>
      </dgm:prSet>
      <dgm:spPr/>
    </dgm:pt>
    <dgm:pt modelId="{B0B5541E-44DD-4266-B75B-DA124352ECB2}" type="pres">
      <dgm:prSet presAssocID="{9816DBD5-4A6E-42FA-A45A-E6A165EB0B89}" presName="rootComposite" presStyleCnt="0"/>
      <dgm:spPr/>
    </dgm:pt>
    <dgm:pt modelId="{A5E8C851-C4C3-490C-A607-A633B62AA341}" type="pres">
      <dgm:prSet presAssocID="{9816DBD5-4A6E-42FA-A45A-E6A165EB0B89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9A689ED-C5DE-417F-A954-F4A8F539A95B}" type="pres">
      <dgm:prSet presAssocID="{9816DBD5-4A6E-42FA-A45A-E6A165EB0B89}" presName="rootConnector" presStyleLbl="node2" presStyleIdx="2" presStyleCnt="3"/>
      <dgm:spPr/>
    </dgm:pt>
    <dgm:pt modelId="{1C9E94DD-1EA7-45D9-A5B1-52D7BAF80107}" type="pres">
      <dgm:prSet presAssocID="{9816DBD5-4A6E-42FA-A45A-E6A165EB0B89}" presName="hierChild4" presStyleCnt="0"/>
      <dgm:spPr/>
    </dgm:pt>
    <dgm:pt modelId="{729EFD9C-3847-4426-8271-D9642C04D6C1}" type="pres">
      <dgm:prSet presAssocID="{9816DBD5-4A6E-42FA-A45A-E6A165EB0B89}" presName="hierChild5" presStyleCnt="0"/>
      <dgm:spPr/>
    </dgm:pt>
    <dgm:pt modelId="{D19D7316-9CF6-4685-A430-5221F2CA1E2B}" type="pres">
      <dgm:prSet presAssocID="{BFBBE708-1193-454D-9056-8450CCE56A0E}" presName="hierChild3" presStyleCnt="0"/>
      <dgm:spPr/>
    </dgm:pt>
    <dgm:pt modelId="{408DC9C9-6FE9-46CD-AC3D-3759AA0E076E}" type="pres">
      <dgm:prSet presAssocID="{E9CD3CCE-15A7-43B6-97DD-413015BCD7D8}" presName="Name111" presStyleLbl="parChTrans1D2" presStyleIdx="3" presStyleCnt="5"/>
      <dgm:spPr/>
    </dgm:pt>
    <dgm:pt modelId="{8BB6AB85-9BDC-4DF5-B8DB-009140D6E4CE}" type="pres">
      <dgm:prSet presAssocID="{A22DE636-F2C6-4DD5-B81B-41FCC11DD0F2}" presName="hierRoot3" presStyleCnt="0">
        <dgm:presLayoutVars>
          <dgm:hierBranch val="init"/>
        </dgm:presLayoutVars>
      </dgm:prSet>
      <dgm:spPr/>
    </dgm:pt>
    <dgm:pt modelId="{A3E73DB8-C1D8-4203-B59D-9743D0F47D3C}" type="pres">
      <dgm:prSet presAssocID="{A22DE636-F2C6-4DD5-B81B-41FCC11DD0F2}" presName="rootComposite3" presStyleCnt="0"/>
      <dgm:spPr/>
    </dgm:pt>
    <dgm:pt modelId="{9EC790DC-F03D-434F-A965-595B3AB95FB5}" type="pres">
      <dgm:prSet presAssocID="{A22DE636-F2C6-4DD5-B81B-41FCC11DD0F2}" presName="rootText3" presStyleLbl="asst1" presStyleIdx="0" presStyleCnt="2" custLinFactX="18529" custLinFactNeighborX="100000" custLinFactNeighborY="59424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058DF65A-33E9-47E7-B201-EF5148A4EF89}" type="pres">
      <dgm:prSet presAssocID="{A22DE636-F2C6-4DD5-B81B-41FCC11DD0F2}" presName="rootConnector3" presStyleLbl="asst1" presStyleIdx="0" presStyleCnt="2"/>
      <dgm:spPr/>
    </dgm:pt>
    <dgm:pt modelId="{2E7169D3-6657-4FF6-8DE0-00BDD059161B}" type="pres">
      <dgm:prSet presAssocID="{A22DE636-F2C6-4DD5-B81B-41FCC11DD0F2}" presName="hierChild6" presStyleCnt="0"/>
      <dgm:spPr/>
    </dgm:pt>
    <dgm:pt modelId="{11DC0A59-1661-4B3D-AAC0-46C262F99A76}" type="pres">
      <dgm:prSet presAssocID="{A22DE636-F2C6-4DD5-B81B-41FCC11DD0F2}" presName="hierChild7" presStyleCnt="0"/>
      <dgm:spPr/>
    </dgm:pt>
    <dgm:pt modelId="{3E34F44E-1CE8-4F83-A65E-2159A0F3F02A}" type="pres">
      <dgm:prSet presAssocID="{40E5230C-94D2-4620-ADFB-F000155FE6CE}" presName="Name111" presStyleLbl="parChTrans1D2" presStyleIdx="4" presStyleCnt="5"/>
      <dgm:spPr/>
    </dgm:pt>
    <dgm:pt modelId="{E305009A-5642-4065-9060-05FFE0486B94}" type="pres">
      <dgm:prSet presAssocID="{8F32E4C9-CDE2-45A5-B039-8CE471D94390}" presName="hierRoot3" presStyleCnt="0">
        <dgm:presLayoutVars>
          <dgm:hierBranch val="init"/>
        </dgm:presLayoutVars>
      </dgm:prSet>
      <dgm:spPr/>
    </dgm:pt>
    <dgm:pt modelId="{5B1B0358-B04F-47A4-AA08-06DACF96FFB8}" type="pres">
      <dgm:prSet presAssocID="{8F32E4C9-CDE2-45A5-B039-8CE471D94390}" presName="rootComposite3" presStyleCnt="0"/>
      <dgm:spPr/>
    </dgm:pt>
    <dgm:pt modelId="{D7BF240E-F2F6-4510-B2EC-C121B0F2E483}" type="pres">
      <dgm:prSet presAssocID="{8F32E4C9-CDE2-45A5-B039-8CE471D94390}" presName="rootText3" presStyleLbl="asst1" presStyleIdx="1" presStyleCnt="2" custLinFactNeighborX="-2472" custLinFactNeighborY="-35958">
        <dgm:presLayoutVars>
          <dgm:chPref val="3"/>
        </dgm:presLayoutVars>
      </dgm:prSet>
      <dgm:spPr/>
    </dgm:pt>
    <dgm:pt modelId="{05239DE5-44F7-4BB5-9DF2-D7D50DF53017}" type="pres">
      <dgm:prSet presAssocID="{8F32E4C9-CDE2-45A5-B039-8CE471D94390}" presName="rootConnector3" presStyleLbl="asst1" presStyleIdx="1" presStyleCnt="2"/>
      <dgm:spPr/>
    </dgm:pt>
    <dgm:pt modelId="{BB0E9E98-EE95-4F4A-9203-3B6822576B10}" type="pres">
      <dgm:prSet presAssocID="{8F32E4C9-CDE2-45A5-B039-8CE471D94390}" presName="hierChild6" presStyleCnt="0"/>
      <dgm:spPr/>
    </dgm:pt>
    <dgm:pt modelId="{4FBF9A3D-B9BE-4E3A-9AB5-EE359F603525}" type="pres">
      <dgm:prSet presAssocID="{8F32E4C9-CDE2-45A5-B039-8CE471D94390}" presName="hierChild7" presStyleCnt="0"/>
      <dgm:spPr/>
    </dgm:pt>
  </dgm:ptLst>
  <dgm:cxnLst>
    <dgm:cxn modelId="{619DF1B4-51CA-408A-974D-AF871648454C}" type="presOf" srcId="{9816DBD5-4A6E-42FA-A45A-E6A165EB0B89}" destId="{79A689ED-C5DE-417F-A954-F4A8F539A95B}" srcOrd="1" destOrd="0" presId="urn:microsoft.com/office/officeart/2005/8/layout/orgChart1"/>
    <dgm:cxn modelId="{3A286202-11F7-4449-90CA-9A41F7A00E5B}" type="presOf" srcId="{2834904E-686E-4D12-BB2E-8243FE2E6FF8}" destId="{ABFB492C-6526-4DAA-B90D-8B5D39D52C5F}" srcOrd="0" destOrd="0" presId="urn:microsoft.com/office/officeart/2005/8/layout/orgChart1"/>
    <dgm:cxn modelId="{60127E12-8C24-40B3-A7BE-4CB6BBE831B5}" srcId="{BFBBE708-1193-454D-9056-8450CCE56A0E}" destId="{D0E7C87B-C75D-4558-BCAA-0B9EACD3D065}" srcOrd="3" destOrd="0" parTransId="{B3684222-7ED8-42F0-B78F-7E781A930BB4}" sibTransId="{952926E6-3F9E-42A8-9BDE-09F8CA38945D}"/>
    <dgm:cxn modelId="{D1FD3AB0-8368-4ADD-910C-FF05AC900D2D}" type="presOf" srcId="{B3684222-7ED8-42F0-B78F-7E781A930BB4}" destId="{D3D455DD-7204-4EC1-8A86-9DD5450F07AC}" srcOrd="0" destOrd="0" presId="urn:microsoft.com/office/officeart/2005/8/layout/orgChart1"/>
    <dgm:cxn modelId="{4C790638-A20C-4C51-AD37-4EB7E37F2D31}" srcId="{BFBBE708-1193-454D-9056-8450CCE56A0E}" destId="{1234ED1D-7799-4D01-BDFA-BCC413613527}" srcOrd="2" destOrd="0" parTransId="{D5BA7229-20D8-43E4-9822-17D989B7F79B}" sibTransId="{2E2C99C3-FAD2-4D8E-9FF5-72830DFD128E}"/>
    <dgm:cxn modelId="{4D1EC3F8-986F-4E1F-B67E-686CF0095F9C}" srcId="{BFBBE708-1193-454D-9056-8450CCE56A0E}" destId="{8F32E4C9-CDE2-45A5-B039-8CE471D94390}" srcOrd="1" destOrd="0" parTransId="{40E5230C-94D2-4620-ADFB-F000155FE6CE}" sibTransId="{4AB67C5E-4142-42C8-84C2-C70701A4D7F0}"/>
    <dgm:cxn modelId="{CBEC00FA-C48E-4FF9-878D-2A77C409114B}" srcId="{D0E7C87B-C75D-4558-BCAA-0B9EACD3D065}" destId="{3ECB3CC0-6A4E-4457-B223-0F32BE11417D}" srcOrd="0" destOrd="0" parTransId="{EFDD2F5B-5822-458E-9284-926E6ECB702B}" sibTransId="{B8F0FDA3-BD2F-448C-B954-A6195854EE5D}"/>
    <dgm:cxn modelId="{39178443-558D-47C8-BA0E-8BF5EC9456FE}" type="presOf" srcId="{EFDD2F5B-5822-458E-9284-926E6ECB702B}" destId="{FD9B76A6-BDA2-4B10-9380-1756483D3A80}" srcOrd="0" destOrd="0" presId="urn:microsoft.com/office/officeart/2005/8/layout/orgChart1"/>
    <dgm:cxn modelId="{D5E12B05-81D6-4A48-8722-28C93B3D05E5}" type="presOf" srcId="{33D576A0-1F36-4420-BC47-D5A4B06E6277}" destId="{AB95ED99-483B-400A-B134-2C747C18C8FC}" srcOrd="0" destOrd="0" presId="urn:microsoft.com/office/officeart/2005/8/layout/orgChart1"/>
    <dgm:cxn modelId="{09C661F2-A2EE-4D85-9CAE-18795C29E25A}" srcId="{BFBBE708-1193-454D-9056-8450CCE56A0E}" destId="{9816DBD5-4A6E-42FA-A45A-E6A165EB0B89}" srcOrd="4" destOrd="0" parTransId="{2834904E-686E-4D12-BB2E-8243FE2E6FF8}" sibTransId="{CAA74211-BADD-4C21-819B-19B7159E5354}"/>
    <dgm:cxn modelId="{CBCF44F7-E729-44FA-A86A-5EF9FE994610}" type="presOf" srcId="{D5BA7229-20D8-43E4-9822-17D989B7F79B}" destId="{127C1686-D28E-4203-9010-36100A77DB8B}" srcOrd="0" destOrd="0" presId="urn:microsoft.com/office/officeart/2005/8/layout/orgChart1"/>
    <dgm:cxn modelId="{70ECB93A-9B84-4AA6-AD38-EB906D38D41D}" type="presOf" srcId="{D0E7C87B-C75D-4558-BCAA-0B9EACD3D065}" destId="{96BBB19F-F1B9-4354-8205-66D358B25B39}" srcOrd="0" destOrd="0" presId="urn:microsoft.com/office/officeart/2005/8/layout/orgChart1"/>
    <dgm:cxn modelId="{7E4CB720-7598-4D53-B495-717AB7EE69B4}" srcId="{BFBBE708-1193-454D-9056-8450CCE56A0E}" destId="{A22DE636-F2C6-4DD5-B81B-41FCC11DD0F2}" srcOrd="0" destOrd="0" parTransId="{E9CD3CCE-15A7-43B6-97DD-413015BCD7D8}" sibTransId="{4B6F4CD5-DBCA-4B77-9F3B-5A703E065273}"/>
    <dgm:cxn modelId="{67BFB9A1-0C9E-451C-A35B-307243411F54}" type="presOf" srcId="{3ECB3CC0-6A4E-4457-B223-0F32BE11417D}" destId="{5738E9B7-C5CD-4667-9435-9575C2620D2E}" srcOrd="0" destOrd="0" presId="urn:microsoft.com/office/officeart/2005/8/layout/orgChart1"/>
    <dgm:cxn modelId="{2E4FC7FD-D207-4A06-861C-977187DDED21}" type="presOf" srcId="{D0E7C87B-C75D-4558-BCAA-0B9EACD3D065}" destId="{DCF7A3D1-C34A-4E77-8CEE-26D5A11547E2}" srcOrd="1" destOrd="0" presId="urn:microsoft.com/office/officeart/2005/8/layout/orgChart1"/>
    <dgm:cxn modelId="{6390FE20-CD60-443F-98B7-683DE1DAB150}" type="presOf" srcId="{A22DE636-F2C6-4DD5-B81B-41FCC11DD0F2}" destId="{058DF65A-33E9-47E7-B201-EF5148A4EF89}" srcOrd="1" destOrd="0" presId="urn:microsoft.com/office/officeart/2005/8/layout/orgChart1"/>
    <dgm:cxn modelId="{C259369B-76D9-4B7D-B174-CBB667435AFE}" type="presOf" srcId="{A22DE636-F2C6-4DD5-B81B-41FCC11DD0F2}" destId="{9EC790DC-F03D-434F-A965-595B3AB95FB5}" srcOrd="0" destOrd="0" presId="urn:microsoft.com/office/officeart/2005/8/layout/orgChart1"/>
    <dgm:cxn modelId="{AD21EB08-A79D-4D0F-AF26-70EC8DBB4B5D}" type="presOf" srcId="{8F32E4C9-CDE2-45A5-B039-8CE471D94390}" destId="{D7BF240E-F2F6-4510-B2EC-C121B0F2E483}" srcOrd="0" destOrd="0" presId="urn:microsoft.com/office/officeart/2005/8/layout/orgChart1"/>
    <dgm:cxn modelId="{1A2314F3-C7FB-4637-949E-D9828F8EAAFD}" type="presOf" srcId="{BFBBE708-1193-454D-9056-8450CCE56A0E}" destId="{56792C8B-7FB7-452A-BA6B-D4B14209E3F7}" srcOrd="0" destOrd="0" presId="urn:microsoft.com/office/officeart/2005/8/layout/orgChart1"/>
    <dgm:cxn modelId="{E4BC940D-0300-4EBB-8982-CFA6BC339655}" type="presOf" srcId="{8F32E4C9-CDE2-45A5-B039-8CE471D94390}" destId="{05239DE5-44F7-4BB5-9DF2-D7D50DF53017}" srcOrd="1" destOrd="0" presId="urn:microsoft.com/office/officeart/2005/8/layout/orgChart1"/>
    <dgm:cxn modelId="{F20DFF36-D0F9-4EF4-A44E-A50760C50953}" type="presOf" srcId="{1234ED1D-7799-4D01-BDFA-BCC413613527}" destId="{CD4C5DEE-C0FF-45E6-8BEF-F2603FDBBDA9}" srcOrd="0" destOrd="0" presId="urn:microsoft.com/office/officeart/2005/8/layout/orgChart1"/>
    <dgm:cxn modelId="{B5D8E55B-CCFA-4BEE-AFDF-E601C0D6ACD1}" type="presOf" srcId="{40E5230C-94D2-4620-ADFB-F000155FE6CE}" destId="{3E34F44E-1CE8-4F83-A65E-2159A0F3F02A}" srcOrd="0" destOrd="0" presId="urn:microsoft.com/office/officeart/2005/8/layout/orgChart1"/>
    <dgm:cxn modelId="{545CA223-33DF-468F-A729-98E550954912}" type="presOf" srcId="{BFBBE708-1193-454D-9056-8450CCE56A0E}" destId="{A5DA4C34-01F6-4223-A624-45A17AC99EBF}" srcOrd="1" destOrd="0" presId="urn:microsoft.com/office/officeart/2005/8/layout/orgChart1"/>
    <dgm:cxn modelId="{0E65BA70-82CC-4030-9CD2-BD1F4AB89B71}" type="presOf" srcId="{1234ED1D-7799-4D01-BDFA-BCC413613527}" destId="{5F9951C8-1CBB-4CDF-9CEA-3171D7501CC6}" srcOrd="1" destOrd="0" presId="urn:microsoft.com/office/officeart/2005/8/layout/orgChart1"/>
    <dgm:cxn modelId="{3C79A2DC-1E13-4B47-8EF8-3E347CEF2D7B}" type="presOf" srcId="{3ECB3CC0-6A4E-4457-B223-0F32BE11417D}" destId="{ACFCC18E-7988-40D3-81E5-09D6D5852148}" srcOrd="1" destOrd="0" presId="urn:microsoft.com/office/officeart/2005/8/layout/orgChart1"/>
    <dgm:cxn modelId="{952E2EB7-AF57-437C-9F1A-B0F2D4072B91}" type="presOf" srcId="{E9CD3CCE-15A7-43B6-97DD-413015BCD7D8}" destId="{408DC9C9-6FE9-46CD-AC3D-3759AA0E076E}" srcOrd="0" destOrd="0" presId="urn:microsoft.com/office/officeart/2005/8/layout/orgChart1"/>
    <dgm:cxn modelId="{96258196-E3D8-4823-9FD0-6397E5FC2907}" srcId="{33D576A0-1F36-4420-BC47-D5A4B06E6277}" destId="{BFBBE708-1193-454D-9056-8450CCE56A0E}" srcOrd="0" destOrd="0" parTransId="{4ED8152A-965D-4CA8-93C5-42BED00F30E4}" sibTransId="{E34FC3AB-C8B8-4B90-96C7-F9DDB85F7066}"/>
    <dgm:cxn modelId="{8EADD8B0-E18B-4843-BAB2-2D916281EA05}" type="presOf" srcId="{9816DBD5-4A6E-42FA-A45A-E6A165EB0B89}" destId="{A5E8C851-C4C3-490C-A607-A633B62AA341}" srcOrd="0" destOrd="0" presId="urn:microsoft.com/office/officeart/2005/8/layout/orgChart1"/>
    <dgm:cxn modelId="{54181113-7079-4593-A2B4-18EC785BF04E}" type="presParOf" srcId="{AB95ED99-483B-400A-B134-2C747C18C8FC}" destId="{13380103-38F0-47CB-89EC-E71387303028}" srcOrd="0" destOrd="0" presId="urn:microsoft.com/office/officeart/2005/8/layout/orgChart1"/>
    <dgm:cxn modelId="{5A8EB220-5029-420D-B6E9-7695571BEFE7}" type="presParOf" srcId="{13380103-38F0-47CB-89EC-E71387303028}" destId="{AE3ED8DA-256C-4C09-ABA5-6B53A3CBEA52}" srcOrd="0" destOrd="0" presId="urn:microsoft.com/office/officeart/2005/8/layout/orgChart1"/>
    <dgm:cxn modelId="{C2D8FA7C-71F3-41DA-B174-DCB9CAAF2D44}" type="presParOf" srcId="{AE3ED8DA-256C-4C09-ABA5-6B53A3CBEA52}" destId="{56792C8B-7FB7-452A-BA6B-D4B14209E3F7}" srcOrd="0" destOrd="0" presId="urn:microsoft.com/office/officeart/2005/8/layout/orgChart1"/>
    <dgm:cxn modelId="{DA5B9997-EFEC-4C16-A51E-2174961B6547}" type="presParOf" srcId="{AE3ED8DA-256C-4C09-ABA5-6B53A3CBEA52}" destId="{A5DA4C34-01F6-4223-A624-45A17AC99EBF}" srcOrd="1" destOrd="0" presId="urn:microsoft.com/office/officeart/2005/8/layout/orgChart1"/>
    <dgm:cxn modelId="{151E7062-0FCE-4753-B882-59160FE62AFF}" type="presParOf" srcId="{13380103-38F0-47CB-89EC-E71387303028}" destId="{690CA2AF-9457-485C-9F60-94E30022AF1F}" srcOrd="1" destOrd="0" presId="urn:microsoft.com/office/officeart/2005/8/layout/orgChart1"/>
    <dgm:cxn modelId="{A786D165-62C0-450F-9B88-CA6319D6D77E}" type="presParOf" srcId="{690CA2AF-9457-485C-9F60-94E30022AF1F}" destId="{127C1686-D28E-4203-9010-36100A77DB8B}" srcOrd="0" destOrd="0" presId="urn:microsoft.com/office/officeart/2005/8/layout/orgChart1"/>
    <dgm:cxn modelId="{0F12B719-5292-431B-BDED-A00BE0DF2D5A}" type="presParOf" srcId="{690CA2AF-9457-485C-9F60-94E30022AF1F}" destId="{07463680-51C0-485E-B110-18465592BFA2}" srcOrd="1" destOrd="0" presId="urn:microsoft.com/office/officeart/2005/8/layout/orgChart1"/>
    <dgm:cxn modelId="{81B33AA2-F6D7-4D70-8D0F-B2D901BDD936}" type="presParOf" srcId="{07463680-51C0-485E-B110-18465592BFA2}" destId="{85889412-4578-48F0-93BB-2B5F0B116F43}" srcOrd="0" destOrd="0" presId="urn:microsoft.com/office/officeart/2005/8/layout/orgChart1"/>
    <dgm:cxn modelId="{FFFBA962-95AA-4700-B613-D1A87ECCBDA2}" type="presParOf" srcId="{85889412-4578-48F0-93BB-2B5F0B116F43}" destId="{CD4C5DEE-C0FF-45E6-8BEF-F2603FDBBDA9}" srcOrd="0" destOrd="0" presId="urn:microsoft.com/office/officeart/2005/8/layout/orgChart1"/>
    <dgm:cxn modelId="{E4DD7524-B83C-49E9-9223-D02C006966C4}" type="presParOf" srcId="{85889412-4578-48F0-93BB-2B5F0B116F43}" destId="{5F9951C8-1CBB-4CDF-9CEA-3171D7501CC6}" srcOrd="1" destOrd="0" presId="urn:microsoft.com/office/officeart/2005/8/layout/orgChart1"/>
    <dgm:cxn modelId="{3CCE64E0-F8D5-42CF-9C68-2E7B43C1B9DB}" type="presParOf" srcId="{07463680-51C0-485E-B110-18465592BFA2}" destId="{4F3D077F-2443-44C6-84AD-AD892C5FBA67}" srcOrd="1" destOrd="0" presId="urn:microsoft.com/office/officeart/2005/8/layout/orgChart1"/>
    <dgm:cxn modelId="{C644A98D-278D-4518-B605-F6630CDDE05A}" type="presParOf" srcId="{07463680-51C0-485E-B110-18465592BFA2}" destId="{904D81C2-F8CD-4D0C-BAC0-3CC446ACD3D7}" srcOrd="2" destOrd="0" presId="urn:microsoft.com/office/officeart/2005/8/layout/orgChart1"/>
    <dgm:cxn modelId="{EB6EB94F-FB84-4F49-9583-041434BDE264}" type="presParOf" srcId="{690CA2AF-9457-485C-9F60-94E30022AF1F}" destId="{D3D455DD-7204-4EC1-8A86-9DD5450F07AC}" srcOrd="2" destOrd="0" presId="urn:microsoft.com/office/officeart/2005/8/layout/orgChart1"/>
    <dgm:cxn modelId="{54344CE0-3EE1-4243-938B-B92C93BEE83B}" type="presParOf" srcId="{690CA2AF-9457-485C-9F60-94E30022AF1F}" destId="{2B8F23FE-91A0-424A-9CF2-CD80F486C555}" srcOrd="3" destOrd="0" presId="urn:microsoft.com/office/officeart/2005/8/layout/orgChart1"/>
    <dgm:cxn modelId="{0A5721BB-F47A-4C29-9029-7D1F8164C077}" type="presParOf" srcId="{2B8F23FE-91A0-424A-9CF2-CD80F486C555}" destId="{63D387AB-75AB-4F2F-BA07-B31134FBAFEF}" srcOrd="0" destOrd="0" presId="urn:microsoft.com/office/officeart/2005/8/layout/orgChart1"/>
    <dgm:cxn modelId="{2E07110F-7B05-4372-92D7-03DFB4D3699C}" type="presParOf" srcId="{63D387AB-75AB-4F2F-BA07-B31134FBAFEF}" destId="{96BBB19F-F1B9-4354-8205-66D358B25B39}" srcOrd="0" destOrd="0" presId="urn:microsoft.com/office/officeart/2005/8/layout/orgChart1"/>
    <dgm:cxn modelId="{A4EF2084-67EA-4B84-A193-86380BFF94F4}" type="presParOf" srcId="{63D387AB-75AB-4F2F-BA07-B31134FBAFEF}" destId="{DCF7A3D1-C34A-4E77-8CEE-26D5A11547E2}" srcOrd="1" destOrd="0" presId="urn:microsoft.com/office/officeart/2005/8/layout/orgChart1"/>
    <dgm:cxn modelId="{01B188BC-3110-4755-B0F7-7569682844EE}" type="presParOf" srcId="{2B8F23FE-91A0-424A-9CF2-CD80F486C555}" destId="{7A7A71C4-AF7E-4FEC-8FE1-9851E56B9BD9}" srcOrd="1" destOrd="0" presId="urn:microsoft.com/office/officeart/2005/8/layout/orgChart1"/>
    <dgm:cxn modelId="{7B5CD935-FE2E-48B8-AB4A-EFEF78B49625}" type="presParOf" srcId="{7A7A71C4-AF7E-4FEC-8FE1-9851E56B9BD9}" destId="{FD9B76A6-BDA2-4B10-9380-1756483D3A80}" srcOrd="0" destOrd="0" presId="urn:microsoft.com/office/officeart/2005/8/layout/orgChart1"/>
    <dgm:cxn modelId="{8A7B0470-A821-4BFF-82F0-5CB0DF7FE09E}" type="presParOf" srcId="{7A7A71C4-AF7E-4FEC-8FE1-9851E56B9BD9}" destId="{35C97D36-AF20-483F-AC07-908FD29C328B}" srcOrd="1" destOrd="0" presId="urn:microsoft.com/office/officeart/2005/8/layout/orgChart1"/>
    <dgm:cxn modelId="{7C94FC52-23D5-4B0C-B77F-AF555E662564}" type="presParOf" srcId="{35C97D36-AF20-483F-AC07-908FD29C328B}" destId="{C2BEC780-B42E-461F-8D7C-6D996DACCF45}" srcOrd="0" destOrd="0" presId="urn:microsoft.com/office/officeart/2005/8/layout/orgChart1"/>
    <dgm:cxn modelId="{D6E105C0-F173-409F-BD01-0C55871EDA2A}" type="presParOf" srcId="{C2BEC780-B42E-461F-8D7C-6D996DACCF45}" destId="{5738E9B7-C5CD-4667-9435-9575C2620D2E}" srcOrd="0" destOrd="0" presId="urn:microsoft.com/office/officeart/2005/8/layout/orgChart1"/>
    <dgm:cxn modelId="{9AD80220-DB89-459E-A0EA-DA1A3BE1BCF7}" type="presParOf" srcId="{C2BEC780-B42E-461F-8D7C-6D996DACCF45}" destId="{ACFCC18E-7988-40D3-81E5-09D6D5852148}" srcOrd="1" destOrd="0" presId="urn:microsoft.com/office/officeart/2005/8/layout/orgChart1"/>
    <dgm:cxn modelId="{5B039C27-0CAB-40DB-B20A-131DA3ECC61B}" type="presParOf" srcId="{35C97D36-AF20-483F-AC07-908FD29C328B}" destId="{4E0F31A6-D87A-41FF-A380-72E4BECA54B7}" srcOrd="1" destOrd="0" presId="urn:microsoft.com/office/officeart/2005/8/layout/orgChart1"/>
    <dgm:cxn modelId="{50F4B959-F392-434A-BEB9-2C4F3C02E9A4}" type="presParOf" srcId="{35C97D36-AF20-483F-AC07-908FD29C328B}" destId="{0E4923B9-B0B7-42FB-BA1B-526D218F08D5}" srcOrd="2" destOrd="0" presId="urn:microsoft.com/office/officeart/2005/8/layout/orgChart1"/>
    <dgm:cxn modelId="{C0D1B4E9-0742-43CC-AC83-8D811E8D70BE}" type="presParOf" srcId="{2B8F23FE-91A0-424A-9CF2-CD80F486C555}" destId="{3FD0603A-B0F2-48F3-A919-F69B06AE2451}" srcOrd="2" destOrd="0" presId="urn:microsoft.com/office/officeart/2005/8/layout/orgChart1"/>
    <dgm:cxn modelId="{FC592F43-7D78-43C5-ADA8-B5483424B220}" type="presParOf" srcId="{690CA2AF-9457-485C-9F60-94E30022AF1F}" destId="{ABFB492C-6526-4DAA-B90D-8B5D39D52C5F}" srcOrd="4" destOrd="0" presId="urn:microsoft.com/office/officeart/2005/8/layout/orgChart1"/>
    <dgm:cxn modelId="{EC18B885-0C0F-4C80-9CA8-165E1E7D4D97}" type="presParOf" srcId="{690CA2AF-9457-485C-9F60-94E30022AF1F}" destId="{2C6D8B90-1D28-4196-94C0-CB0649AAE76B}" srcOrd="5" destOrd="0" presId="urn:microsoft.com/office/officeart/2005/8/layout/orgChart1"/>
    <dgm:cxn modelId="{917053B4-DE13-44DC-80DB-EF7A262C8B16}" type="presParOf" srcId="{2C6D8B90-1D28-4196-94C0-CB0649AAE76B}" destId="{B0B5541E-44DD-4266-B75B-DA124352ECB2}" srcOrd="0" destOrd="0" presId="urn:microsoft.com/office/officeart/2005/8/layout/orgChart1"/>
    <dgm:cxn modelId="{5E977802-3391-4692-B5D5-E736F59761EF}" type="presParOf" srcId="{B0B5541E-44DD-4266-B75B-DA124352ECB2}" destId="{A5E8C851-C4C3-490C-A607-A633B62AA341}" srcOrd="0" destOrd="0" presId="urn:microsoft.com/office/officeart/2005/8/layout/orgChart1"/>
    <dgm:cxn modelId="{7AA6B098-AD14-4E17-BB1D-AAE39A01E29B}" type="presParOf" srcId="{B0B5541E-44DD-4266-B75B-DA124352ECB2}" destId="{79A689ED-C5DE-417F-A954-F4A8F539A95B}" srcOrd="1" destOrd="0" presId="urn:microsoft.com/office/officeart/2005/8/layout/orgChart1"/>
    <dgm:cxn modelId="{C2FC61E7-0CEC-404E-B1E0-49F8FCC51D48}" type="presParOf" srcId="{2C6D8B90-1D28-4196-94C0-CB0649AAE76B}" destId="{1C9E94DD-1EA7-45D9-A5B1-52D7BAF80107}" srcOrd="1" destOrd="0" presId="urn:microsoft.com/office/officeart/2005/8/layout/orgChart1"/>
    <dgm:cxn modelId="{C990393D-A884-4D89-A19D-F5AE6FD0DACA}" type="presParOf" srcId="{2C6D8B90-1D28-4196-94C0-CB0649AAE76B}" destId="{729EFD9C-3847-4426-8271-D9642C04D6C1}" srcOrd="2" destOrd="0" presId="urn:microsoft.com/office/officeart/2005/8/layout/orgChart1"/>
    <dgm:cxn modelId="{9C097D78-6431-4A4A-8847-BF5BC0CEEA43}" type="presParOf" srcId="{13380103-38F0-47CB-89EC-E71387303028}" destId="{D19D7316-9CF6-4685-A430-5221F2CA1E2B}" srcOrd="2" destOrd="0" presId="urn:microsoft.com/office/officeart/2005/8/layout/orgChart1"/>
    <dgm:cxn modelId="{8F7D60B6-09AB-4138-AB62-9D9CD7285610}" type="presParOf" srcId="{D19D7316-9CF6-4685-A430-5221F2CA1E2B}" destId="{408DC9C9-6FE9-46CD-AC3D-3759AA0E076E}" srcOrd="0" destOrd="0" presId="urn:microsoft.com/office/officeart/2005/8/layout/orgChart1"/>
    <dgm:cxn modelId="{B4F1CD94-E3C1-4CC4-A9B6-8E8C693CF483}" type="presParOf" srcId="{D19D7316-9CF6-4685-A430-5221F2CA1E2B}" destId="{8BB6AB85-9BDC-4DF5-B8DB-009140D6E4CE}" srcOrd="1" destOrd="0" presId="urn:microsoft.com/office/officeart/2005/8/layout/orgChart1"/>
    <dgm:cxn modelId="{240E6935-BAB6-49B7-8997-244F519ACEE0}" type="presParOf" srcId="{8BB6AB85-9BDC-4DF5-B8DB-009140D6E4CE}" destId="{A3E73DB8-C1D8-4203-B59D-9743D0F47D3C}" srcOrd="0" destOrd="0" presId="urn:microsoft.com/office/officeart/2005/8/layout/orgChart1"/>
    <dgm:cxn modelId="{68A51EB6-A70A-445E-B80E-7DB099530812}" type="presParOf" srcId="{A3E73DB8-C1D8-4203-B59D-9743D0F47D3C}" destId="{9EC790DC-F03D-434F-A965-595B3AB95FB5}" srcOrd="0" destOrd="0" presId="urn:microsoft.com/office/officeart/2005/8/layout/orgChart1"/>
    <dgm:cxn modelId="{B7646C24-54F5-4063-A5D2-EAF5F86F6F47}" type="presParOf" srcId="{A3E73DB8-C1D8-4203-B59D-9743D0F47D3C}" destId="{058DF65A-33E9-47E7-B201-EF5148A4EF89}" srcOrd="1" destOrd="0" presId="urn:microsoft.com/office/officeart/2005/8/layout/orgChart1"/>
    <dgm:cxn modelId="{7F5C0533-F786-4E60-825B-63DFF6AF92AF}" type="presParOf" srcId="{8BB6AB85-9BDC-4DF5-B8DB-009140D6E4CE}" destId="{2E7169D3-6657-4FF6-8DE0-00BDD059161B}" srcOrd="1" destOrd="0" presId="urn:microsoft.com/office/officeart/2005/8/layout/orgChart1"/>
    <dgm:cxn modelId="{83A50CC8-D3B7-4579-9D76-7F85B415D150}" type="presParOf" srcId="{8BB6AB85-9BDC-4DF5-B8DB-009140D6E4CE}" destId="{11DC0A59-1661-4B3D-AAC0-46C262F99A76}" srcOrd="2" destOrd="0" presId="urn:microsoft.com/office/officeart/2005/8/layout/orgChart1"/>
    <dgm:cxn modelId="{9916C436-C491-4A47-B1F3-689A873BD4FE}" type="presParOf" srcId="{D19D7316-9CF6-4685-A430-5221F2CA1E2B}" destId="{3E34F44E-1CE8-4F83-A65E-2159A0F3F02A}" srcOrd="2" destOrd="0" presId="urn:microsoft.com/office/officeart/2005/8/layout/orgChart1"/>
    <dgm:cxn modelId="{2FDAABCD-376E-4526-A0E0-18B635220DA6}" type="presParOf" srcId="{D19D7316-9CF6-4685-A430-5221F2CA1E2B}" destId="{E305009A-5642-4065-9060-05FFE0486B94}" srcOrd="3" destOrd="0" presId="urn:microsoft.com/office/officeart/2005/8/layout/orgChart1"/>
    <dgm:cxn modelId="{A294BB7B-10BD-4E85-9E09-DDF93386F7BD}" type="presParOf" srcId="{E305009A-5642-4065-9060-05FFE0486B94}" destId="{5B1B0358-B04F-47A4-AA08-06DACF96FFB8}" srcOrd="0" destOrd="0" presId="urn:microsoft.com/office/officeart/2005/8/layout/orgChart1"/>
    <dgm:cxn modelId="{1395A543-4617-48D5-8DED-2981299BE76E}" type="presParOf" srcId="{5B1B0358-B04F-47A4-AA08-06DACF96FFB8}" destId="{D7BF240E-F2F6-4510-B2EC-C121B0F2E483}" srcOrd="0" destOrd="0" presId="urn:microsoft.com/office/officeart/2005/8/layout/orgChart1"/>
    <dgm:cxn modelId="{9613A397-9A38-459E-BA81-80BB4C9CCE32}" type="presParOf" srcId="{5B1B0358-B04F-47A4-AA08-06DACF96FFB8}" destId="{05239DE5-44F7-4BB5-9DF2-D7D50DF53017}" srcOrd="1" destOrd="0" presId="urn:microsoft.com/office/officeart/2005/8/layout/orgChart1"/>
    <dgm:cxn modelId="{12685EB3-4E4C-4AF0-A1B2-131DB492F2B6}" type="presParOf" srcId="{E305009A-5642-4065-9060-05FFE0486B94}" destId="{BB0E9E98-EE95-4F4A-9203-3B6822576B10}" srcOrd="1" destOrd="0" presId="urn:microsoft.com/office/officeart/2005/8/layout/orgChart1"/>
    <dgm:cxn modelId="{EC011448-A4DF-412C-BB40-B462583D9E3F}" type="presParOf" srcId="{E305009A-5642-4065-9060-05FFE0486B94}" destId="{4FBF9A3D-B9BE-4E3A-9AB5-EE359F60352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BD44F4-868A-43A0-967F-C8C305FF64F4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1667884F-DAC1-4B98-A482-6375612E5A00}">
      <dgm:prSet phldrT="[文本]"/>
      <dgm:spPr/>
      <dgm:t>
        <a:bodyPr/>
        <a:lstStyle/>
        <a:p>
          <a:r>
            <a:rPr lang="zh-CN" altLang="en-US" dirty="0" smtClean="0"/>
            <a:t>用户需求分析</a:t>
          </a:r>
          <a:endParaRPr lang="zh-CN" altLang="en-US" dirty="0"/>
        </a:p>
      </dgm:t>
    </dgm:pt>
    <dgm:pt modelId="{F4EE5F91-8BC0-4364-9234-AD6B78A7E3CF}" type="parTrans" cxnId="{AAC5ED72-F1B4-44A6-8AE8-1CD25B0A5072}">
      <dgm:prSet/>
      <dgm:spPr/>
      <dgm:t>
        <a:bodyPr/>
        <a:lstStyle/>
        <a:p>
          <a:endParaRPr lang="zh-CN" altLang="en-US"/>
        </a:p>
      </dgm:t>
    </dgm:pt>
    <dgm:pt modelId="{05C35E62-6CF8-4F43-A748-FFF78DA94E86}" type="sibTrans" cxnId="{AAC5ED72-F1B4-44A6-8AE8-1CD25B0A5072}">
      <dgm:prSet/>
      <dgm:spPr/>
      <dgm:t>
        <a:bodyPr/>
        <a:lstStyle/>
        <a:p>
          <a:endParaRPr lang="zh-CN" altLang="en-US"/>
        </a:p>
      </dgm:t>
    </dgm:pt>
    <dgm:pt modelId="{E579708D-7134-41CE-980B-84CAD4EEE1CF}">
      <dgm:prSet phldrT="[文本]"/>
      <dgm:spPr/>
      <dgm:t>
        <a:bodyPr/>
        <a:lstStyle/>
        <a:p>
          <a:r>
            <a:rPr lang="zh-CN" altLang="en-US" dirty="0" smtClean="0"/>
            <a:t>架构与设计</a:t>
          </a:r>
          <a:endParaRPr lang="zh-CN" altLang="en-US" dirty="0"/>
        </a:p>
      </dgm:t>
    </dgm:pt>
    <dgm:pt modelId="{6CD9C3D7-609D-4FFB-8EB3-9ECB326ED227}" type="parTrans" cxnId="{5A7AC97D-6973-4008-9BAC-AC8C2B1D9B09}">
      <dgm:prSet/>
      <dgm:spPr/>
      <dgm:t>
        <a:bodyPr/>
        <a:lstStyle/>
        <a:p>
          <a:endParaRPr lang="zh-CN" altLang="en-US"/>
        </a:p>
      </dgm:t>
    </dgm:pt>
    <dgm:pt modelId="{7F271862-39C2-4434-93EC-ECCAC3AE74D1}" type="sibTrans" cxnId="{5A7AC97D-6973-4008-9BAC-AC8C2B1D9B09}">
      <dgm:prSet/>
      <dgm:spPr/>
      <dgm:t>
        <a:bodyPr/>
        <a:lstStyle/>
        <a:p>
          <a:endParaRPr lang="zh-CN" altLang="en-US"/>
        </a:p>
      </dgm:t>
    </dgm:pt>
    <dgm:pt modelId="{EBDEF554-3930-4FD7-9507-C21B1AF1BD5D}">
      <dgm:prSet phldrT="[文本]"/>
      <dgm:spPr/>
      <dgm:t>
        <a:bodyPr/>
        <a:lstStyle/>
        <a:p>
          <a:r>
            <a:rPr lang="zh-CN" altLang="en-US" dirty="0" smtClean="0"/>
            <a:t>研发实施</a:t>
          </a:r>
          <a:endParaRPr lang="zh-CN" altLang="en-US" dirty="0"/>
        </a:p>
      </dgm:t>
    </dgm:pt>
    <dgm:pt modelId="{5AC66D43-F0AB-47A2-9715-FD72F3272827}" type="parTrans" cxnId="{4AD90287-A1DE-46DA-AA50-BEE8D7BBB9CB}">
      <dgm:prSet/>
      <dgm:spPr/>
      <dgm:t>
        <a:bodyPr/>
        <a:lstStyle/>
        <a:p>
          <a:endParaRPr lang="zh-CN" altLang="en-US"/>
        </a:p>
      </dgm:t>
    </dgm:pt>
    <dgm:pt modelId="{749A1B74-3BED-4C0A-BBF8-69334011ABCD}" type="sibTrans" cxnId="{4AD90287-A1DE-46DA-AA50-BEE8D7BBB9CB}">
      <dgm:prSet/>
      <dgm:spPr/>
      <dgm:t>
        <a:bodyPr/>
        <a:lstStyle/>
        <a:p>
          <a:endParaRPr lang="zh-CN" altLang="en-US"/>
        </a:p>
      </dgm:t>
    </dgm:pt>
    <dgm:pt modelId="{9F4CB671-437E-45FA-8A30-53E1923F9C22}">
      <dgm:prSet phldrT="[文本]"/>
      <dgm:spPr/>
      <dgm:t>
        <a:bodyPr/>
        <a:lstStyle/>
        <a:p>
          <a:r>
            <a:rPr lang="zh-CN" altLang="en-US" dirty="0" smtClean="0"/>
            <a:t>质量测试</a:t>
          </a:r>
          <a:endParaRPr lang="zh-CN" altLang="en-US" dirty="0"/>
        </a:p>
      </dgm:t>
    </dgm:pt>
    <dgm:pt modelId="{6DCCE978-CE75-4DF4-84A6-B3AC46217B4B}" type="parTrans" cxnId="{51606479-63F8-4341-8F07-2178E20B434F}">
      <dgm:prSet/>
      <dgm:spPr/>
      <dgm:t>
        <a:bodyPr/>
        <a:lstStyle/>
        <a:p>
          <a:endParaRPr lang="zh-CN" altLang="en-US"/>
        </a:p>
      </dgm:t>
    </dgm:pt>
    <dgm:pt modelId="{4D461472-847C-4283-A10C-E72767176C0F}" type="sibTrans" cxnId="{51606479-63F8-4341-8F07-2178E20B434F}">
      <dgm:prSet/>
      <dgm:spPr/>
      <dgm:t>
        <a:bodyPr/>
        <a:lstStyle/>
        <a:p>
          <a:endParaRPr lang="zh-CN" altLang="en-US"/>
        </a:p>
      </dgm:t>
    </dgm:pt>
    <dgm:pt modelId="{068F9E85-7ACF-419B-9AE7-AEA7DECDAED5}">
      <dgm:prSet phldrT="[文本]"/>
      <dgm:spPr/>
      <dgm:t>
        <a:bodyPr/>
        <a:lstStyle/>
        <a:p>
          <a:r>
            <a:rPr lang="zh-CN" altLang="en-US" dirty="0" smtClean="0"/>
            <a:t>迭代优化</a:t>
          </a:r>
          <a:endParaRPr lang="zh-CN" altLang="en-US" dirty="0"/>
        </a:p>
      </dgm:t>
    </dgm:pt>
    <dgm:pt modelId="{6B37E70E-B8AC-43FF-9004-4C63C4EB362A}" type="parTrans" cxnId="{19FDABD6-CADE-4AEB-BCE0-8096D288D0A4}">
      <dgm:prSet/>
      <dgm:spPr/>
      <dgm:t>
        <a:bodyPr/>
        <a:lstStyle/>
        <a:p>
          <a:endParaRPr lang="zh-CN" altLang="en-US"/>
        </a:p>
      </dgm:t>
    </dgm:pt>
    <dgm:pt modelId="{2F31BA49-A2DC-4E34-B62F-E098F0BE4A63}" type="sibTrans" cxnId="{19FDABD6-CADE-4AEB-BCE0-8096D288D0A4}">
      <dgm:prSet/>
      <dgm:spPr/>
      <dgm:t>
        <a:bodyPr/>
        <a:lstStyle/>
        <a:p>
          <a:endParaRPr lang="zh-CN" altLang="en-US"/>
        </a:p>
      </dgm:t>
    </dgm:pt>
    <dgm:pt modelId="{384BB6EE-08F0-4E61-B3F1-FBB818BBDC24}">
      <dgm:prSet phldrT="[文本]"/>
      <dgm:spPr/>
      <dgm:t>
        <a:bodyPr/>
        <a:lstStyle/>
        <a:p>
          <a:r>
            <a:rPr lang="zh-CN" altLang="en-US" dirty="0" smtClean="0"/>
            <a:t>上线运营</a:t>
          </a:r>
          <a:endParaRPr lang="zh-CN" altLang="en-US" dirty="0"/>
        </a:p>
      </dgm:t>
    </dgm:pt>
    <dgm:pt modelId="{D5FEE865-5A79-4EEE-A4AA-5017ECE6EFF0}" type="parTrans" cxnId="{F72C863B-C5BF-4BA7-8924-B6A65F6DA0A3}">
      <dgm:prSet/>
      <dgm:spPr/>
      <dgm:t>
        <a:bodyPr/>
        <a:lstStyle/>
        <a:p>
          <a:endParaRPr lang="zh-CN" altLang="en-US"/>
        </a:p>
      </dgm:t>
    </dgm:pt>
    <dgm:pt modelId="{96C48783-5122-444B-BB65-84748C7647C6}" type="sibTrans" cxnId="{F72C863B-C5BF-4BA7-8924-B6A65F6DA0A3}">
      <dgm:prSet/>
      <dgm:spPr/>
      <dgm:t>
        <a:bodyPr/>
        <a:lstStyle/>
        <a:p>
          <a:endParaRPr lang="zh-CN" altLang="en-US"/>
        </a:p>
      </dgm:t>
    </dgm:pt>
    <dgm:pt modelId="{AA1E0E91-8FE5-44B2-898B-1010BA50578D}">
      <dgm:prSet phldrT="[文本]"/>
      <dgm:spPr/>
      <dgm:t>
        <a:bodyPr/>
        <a:lstStyle/>
        <a:p>
          <a:r>
            <a:rPr lang="zh-CN" altLang="en-US" dirty="0" smtClean="0"/>
            <a:t>追踪评估</a:t>
          </a:r>
          <a:endParaRPr lang="zh-CN" altLang="en-US" dirty="0"/>
        </a:p>
      </dgm:t>
    </dgm:pt>
    <dgm:pt modelId="{34A853D8-BD64-4CF5-BD80-D371AA29DE42}" type="parTrans" cxnId="{84495633-9C3C-4CD5-B491-C297B9F7427F}">
      <dgm:prSet/>
      <dgm:spPr/>
      <dgm:t>
        <a:bodyPr/>
        <a:lstStyle/>
        <a:p>
          <a:endParaRPr lang="zh-CN" altLang="en-US"/>
        </a:p>
      </dgm:t>
    </dgm:pt>
    <dgm:pt modelId="{831622B0-EB2B-4DF7-A6FB-9EC7EA23C7CD}" type="sibTrans" cxnId="{84495633-9C3C-4CD5-B491-C297B9F7427F}">
      <dgm:prSet/>
      <dgm:spPr/>
      <dgm:t>
        <a:bodyPr/>
        <a:lstStyle/>
        <a:p>
          <a:endParaRPr lang="zh-CN" altLang="en-US"/>
        </a:p>
      </dgm:t>
    </dgm:pt>
    <dgm:pt modelId="{7F8E5D5C-CC4F-4151-A07F-2861194A5FF4}">
      <dgm:prSet phldrT="[文本]"/>
      <dgm:spPr/>
      <dgm:t>
        <a:bodyPr/>
        <a:lstStyle/>
        <a:p>
          <a:r>
            <a:rPr lang="zh-CN" altLang="en-US" dirty="0" smtClean="0"/>
            <a:t>产品需求分析</a:t>
          </a:r>
          <a:endParaRPr lang="zh-CN" altLang="en-US" dirty="0"/>
        </a:p>
      </dgm:t>
    </dgm:pt>
    <dgm:pt modelId="{E06A86BE-23BA-4848-A495-E897B130227A}" type="parTrans" cxnId="{79ED4853-FDA3-4C51-8799-3E03893BB336}">
      <dgm:prSet/>
      <dgm:spPr/>
      <dgm:t>
        <a:bodyPr/>
        <a:lstStyle/>
        <a:p>
          <a:endParaRPr lang="zh-CN" altLang="en-US"/>
        </a:p>
      </dgm:t>
    </dgm:pt>
    <dgm:pt modelId="{84F6AD11-D8A7-40B0-A1B2-E6825AEFD801}" type="sibTrans" cxnId="{79ED4853-FDA3-4C51-8799-3E03893BB336}">
      <dgm:prSet/>
      <dgm:spPr/>
      <dgm:t>
        <a:bodyPr/>
        <a:lstStyle/>
        <a:p>
          <a:endParaRPr lang="zh-CN" altLang="en-US"/>
        </a:p>
      </dgm:t>
    </dgm:pt>
    <dgm:pt modelId="{5FD2BAE9-A923-43F6-AEC6-82655B33327A}" type="pres">
      <dgm:prSet presAssocID="{32BD44F4-868A-43A0-967F-C8C305FF64F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D966C19B-6B49-4D16-A119-E18DD203F85E}" type="pres">
      <dgm:prSet presAssocID="{1667884F-DAC1-4B98-A482-6375612E5A00}" presName="dummy" presStyleCnt="0"/>
      <dgm:spPr/>
    </dgm:pt>
    <dgm:pt modelId="{A33222F6-AD52-4728-B5E8-39401D439612}" type="pres">
      <dgm:prSet presAssocID="{1667884F-DAC1-4B98-A482-6375612E5A00}" presName="node" presStyleLbl="revTx" presStyleIdx="0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7E4819C-4BBE-4E82-8D9B-066DEDAE2FBD}" type="pres">
      <dgm:prSet presAssocID="{05C35E62-6CF8-4F43-A748-FFF78DA94E86}" presName="sibTrans" presStyleLbl="node1" presStyleIdx="0" presStyleCnt="8"/>
      <dgm:spPr/>
      <dgm:t>
        <a:bodyPr/>
        <a:lstStyle/>
        <a:p>
          <a:endParaRPr lang="zh-CN" altLang="en-US"/>
        </a:p>
      </dgm:t>
    </dgm:pt>
    <dgm:pt modelId="{FE84F332-699D-4307-A2D6-14E7B00237C0}" type="pres">
      <dgm:prSet presAssocID="{7F8E5D5C-CC4F-4151-A07F-2861194A5FF4}" presName="dummy" presStyleCnt="0"/>
      <dgm:spPr/>
    </dgm:pt>
    <dgm:pt modelId="{EE3022CC-CAE0-468C-A327-2E7840962F31}" type="pres">
      <dgm:prSet presAssocID="{7F8E5D5C-CC4F-4151-A07F-2861194A5FF4}" presName="node" presStyleLbl="revTx" presStyleIdx="1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8E3213B-812A-4C52-9CB9-8E7A7049C185}" type="pres">
      <dgm:prSet presAssocID="{84F6AD11-D8A7-40B0-A1B2-E6825AEFD801}" presName="sibTrans" presStyleLbl="node1" presStyleIdx="1" presStyleCnt="8"/>
      <dgm:spPr/>
    </dgm:pt>
    <dgm:pt modelId="{77800BBB-F0CB-47E3-9437-2D81935D0817}" type="pres">
      <dgm:prSet presAssocID="{E579708D-7134-41CE-980B-84CAD4EEE1CF}" presName="dummy" presStyleCnt="0"/>
      <dgm:spPr/>
    </dgm:pt>
    <dgm:pt modelId="{D1C49D3B-24A4-4DC3-BB07-C83020E24CF7}" type="pres">
      <dgm:prSet presAssocID="{E579708D-7134-41CE-980B-84CAD4EEE1CF}" presName="node" presStyleLbl="revTx" presStyleIdx="2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704F559-DDD5-44CD-8B9A-242CBDE96170}" type="pres">
      <dgm:prSet presAssocID="{7F271862-39C2-4434-93EC-ECCAC3AE74D1}" presName="sibTrans" presStyleLbl="node1" presStyleIdx="2" presStyleCnt="8"/>
      <dgm:spPr/>
      <dgm:t>
        <a:bodyPr/>
        <a:lstStyle/>
        <a:p>
          <a:endParaRPr lang="zh-CN" altLang="en-US"/>
        </a:p>
      </dgm:t>
    </dgm:pt>
    <dgm:pt modelId="{B5E0883B-C7BD-462D-BDCA-2AC297FD4A90}" type="pres">
      <dgm:prSet presAssocID="{EBDEF554-3930-4FD7-9507-C21B1AF1BD5D}" presName="dummy" presStyleCnt="0"/>
      <dgm:spPr/>
    </dgm:pt>
    <dgm:pt modelId="{C7742C9D-4901-4FD5-BAE4-B2BB7F17A82E}" type="pres">
      <dgm:prSet presAssocID="{EBDEF554-3930-4FD7-9507-C21B1AF1BD5D}" presName="node" presStyleLbl="revTx" presStyleIdx="3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2985A5F-CBEC-4029-9366-2118BDCF7125}" type="pres">
      <dgm:prSet presAssocID="{749A1B74-3BED-4C0A-BBF8-69334011ABCD}" presName="sibTrans" presStyleLbl="node1" presStyleIdx="3" presStyleCnt="8"/>
      <dgm:spPr/>
      <dgm:t>
        <a:bodyPr/>
        <a:lstStyle/>
        <a:p>
          <a:endParaRPr lang="zh-CN" altLang="en-US"/>
        </a:p>
      </dgm:t>
    </dgm:pt>
    <dgm:pt modelId="{3D1CBA2D-D359-4482-A544-1CD65AA391E0}" type="pres">
      <dgm:prSet presAssocID="{9F4CB671-437E-45FA-8A30-53E1923F9C22}" presName="dummy" presStyleCnt="0"/>
      <dgm:spPr/>
    </dgm:pt>
    <dgm:pt modelId="{C29986FF-E26B-475D-B01F-F8AB028553FE}" type="pres">
      <dgm:prSet presAssocID="{9F4CB671-437E-45FA-8A30-53E1923F9C22}" presName="node" presStyleLbl="revTx" presStyleIdx="4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A7F7B3A-DD2C-4247-916B-B94418930C01}" type="pres">
      <dgm:prSet presAssocID="{4D461472-847C-4283-A10C-E72767176C0F}" presName="sibTrans" presStyleLbl="node1" presStyleIdx="4" presStyleCnt="8"/>
      <dgm:spPr/>
      <dgm:t>
        <a:bodyPr/>
        <a:lstStyle/>
        <a:p>
          <a:endParaRPr lang="zh-CN" altLang="en-US"/>
        </a:p>
      </dgm:t>
    </dgm:pt>
    <dgm:pt modelId="{0DFC4BA3-934B-4A55-BE8F-9B5B89B31543}" type="pres">
      <dgm:prSet presAssocID="{384BB6EE-08F0-4E61-B3F1-FBB818BBDC24}" presName="dummy" presStyleCnt="0"/>
      <dgm:spPr/>
    </dgm:pt>
    <dgm:pt modelId="{BCCF0A4C-1CCA-4739-959F-5951B5553F40}" type="pres">
      <dgm:prSet presAssocID="{384BB6EE-08F0-4E61-B3F1-FBB818BBDC24}" presName="node" presStyleLbl="revTx" presStyleIdx="5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339914C-8AD0-481B-AFFA-2A7529F563C7}" type="pres">
      <dgm:prSet presAssocID="{96C48783-5122-444B-BB65-84748C7647C6}" presName="sibTrans" presStyleLbl="node1" presStyleIdx="5" presStyleCnt="8"/>
      <dgm:spPr/>
      <dgm:t>
        <a:bodyPr/>
        <a:lstStyle/>
        <a:p>
          <a:endParaRPr lang="zh-CN" altLang="en-US"/>
        </a:p>
      </dgm:t>
    </dgm:pt>
    <dgm:pt modelId="{2FFB0E0C-9290-4197-89D0-384C829B1DAD}" type="pres">
      <dgm:prSet presAssocID="{AA1E0E91-8FE5-44B2-898B-1010BA50578D}" presName="dummy" presStyleCnt="0"/>
      <dgm:spPr/>
    </dgm:pt>
    <dgm:pt modelId="{EC8438C2-99D3-4C6D-9166-815A1F2B5521}" type="pres">
      <dgm:prSet presAssocID="{AA1E0E91-8FE5-44B2-898B-1010BA50578D}" presName="node" presStyleLbl="revTx" presStyleIdx="6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7727E8B-A759-4D82-B27F-1E38D46F7172}" type="pres">
      <dgm:prSet presAssocID="{831622B0-EB2B-4DF7-A6FB-9EC7EA23C7CD}" presName="sibTrans" presStyleLbl="node1" presStyleIdx="6" presStyleCnt="8"/>
      <dgm:spPr/>
    </dgm:pt>
    <dgm:pt modelId="{923E2469-499F-4928-A2F4-093D6C1815EE}" type="pres">
      <dgm:prSet presAssocID="{068F9E85-7ACF-419B-9AE7-AEA7DECDAED5}" presName="dummy" presStyleCnt="0"/>
      <dgm:spPr/>
    </dgm:pt>
    <dgm:pt modelId="{9B39E7AA-7EDC-4293-8350-C742017AB269}" type="pres">
      <dgm:prSet presAssocID="{068F9E85-7ACF-419B-9AE7-AEA7DECDAED5}" presName="node" presStyleLbl="revTx" presStyleIdx="7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D146727-7B24-4F7A-9A9B-DC75F64ECB37}" type="pres">
      <dgm:prSet presAssocID="{2F31BA49-A2DC-4E34-B62F-E098F0BE4A63}" presName="sibTrans" presStyleLbl="node1" presStyleIdx="7" presStyleCnt="8"/>
      <dgm:spPr/>
      <dgm:t>
        <a:bodyPr/>
        <a:lstStyle/>
        <a:p>
          <a:endParaRPr lang="zh-CN" altLang="en-US"/>
        </a:p>
      </dgm:t>
    </dgm:pt>
  </dgm:ptLst>
  <dgm:cxnLst>
    <dgm:cxn modelId="{19F8170D-E85D-423B-A3FE-624AB96F92FC}" type="presOf" srcId="{7F271862-39C2-4434-93EC-ECCAC3AE74D1}" destId="{D704F559-DDD5-44CD-8B9A-242CBDE96170}" srcOrd="0" destOrd="0" presId="urn:microsoft.com/office/officeart/2005/8/layout/cycle1"/>
    <dgm:cxn modelId="{9F67D9AA-65D9-41FD-9E48-D943C2E80897}" type="presOf" srcId="{384BB6EE-08F0-4E61-B3F1-FBB818BBDC24}" destId="{BCCF0A4C-1CCA-4739-959F-5951B5553F40}" srcOrd="0" destOrd="0" presId="urn:microsoft.com/office/officeart/2005/8/layout/cycle1"/>
    <dgm:cxn modelId="{60BB6149-310E-4339-B648-DE175A07FA80}" type="presOf" srcId="{2F31BA49-A2DC-4E34-B62F-E098F0BE4A63}" destId="{FD146727-7B24-4F7A-9A9B-DC75F64ECB37}" srcOrd="0" destOrd="0" presId="urn:microsoft.com/office/officeart/2005/8/layout/cycle1"/>
    <dgm:cxn modelId="{4A0483E0-E828-498E-927B-FA00F002897C}" type="presOf" srcId="{E579708D-7134-41CE-980B-84CAD4EEE1CF}" destId="{D1C49D3B-24A4-4DC3-BB07-C83020E24CF7}" srcOrd="0" destOrd="0" presId="urn:microsoft.com/office/officeart/2005/8/layout/cycle1"/>
    <dgm:cxn modelId="{9725CA86-9E35-4A2F-A117-8E94EDCDCEF5}" type="presOf" srcId="{EBDEF554-3930-4FD7-9507-C21B1AF1BD5D}" destId="{C7742C9D-4901-4FD5-BAE4-B2BB7F17A82E}" srcOrd="0" destOrd="0" presId="urn:microsoft.com/office/officeart/2005/8/layout/cycle1"/>
    <dgm:cxn modelId="{5A7AC97D-6973-4008-9BAC-AC8C2B1D9B09}" srcId="{32BD44F4-868A-43A0-967F-C8C305FF64F4}" destId="{E579708D-7134-41CE-980B-84CAD4EEE1CF}" srcOrd="2" destOrd="0" parTransId="{6CD9C3D7-609D-4FFB-8EB3-9ECB326ED227}" sibTransId="{7F271862-39C2-4434-93EC-ECCAC3AE74D1}"/>
    <dgm:cxn modelId="{6CF5CE87-56C0-46D7-9BD0-E618C048B4F6}" type="presOf" srcId="{84F6AD11-D8A7-40B0-A1B2-E6825AEFD801}" destId="{A8E3213B-812A-4C52-9CB9-8E7A7049C185}" srcOrd="0" destOrd="0" presId="urn:microsoft.com/office/officeart/2005/8/layout/cycle1"/>
    <dgm:cxn modelId="{10C7EE7A-5D06-40F3-8455-F419EED551C4}" type="presOf" srcId="{749A1B74-3BED-4C0A-BBF8-69334011ABCD}" destId="{02985A5F-CBEC-4029-9366-2118BDCF7125}" srcOrd="0" destOrd="0" presId="urn:microsoft.com/office/officeart/2005/8/layout/cycle1"/>
    <dgm:cxn modelId="{AAC5ED72-F1B4-44A6-8AE8-1CD25B0A5072}" srcId="{32BD44F4-868A-43A0-967F-C8C305FF64F4}" destId="{1667884F-DAC1-4B98-A482-6375612E5A00}" srcOrd="0" destOrd="0" parTransId="{F4EE5F91-8BC0-4364-9234-AD6B78A7E3CF}" sibTransId="{05C35E62-6CF8-4F43-A748-FFF78DA94E86}"/>
    <dgm:cxn modelId="{BE7C4DA6-CBA0-43A4-B96A-CB87D895DC59}" type="presOf" srcId="{1667884F-DAC1-4B98-A482-6375612E5A00}" destId="{A33222F6-AD52-4728-B5E8-39401D439612}" srcOrd="0" destOrd="0" presId="urn:microsoft.com/office/officeart/2005/8/layout/cycle1"/>
    <dgm:cxn modelId="{51606479-63F8-4341-8F07-2178E20B434F}" srcId="{32BD44F4-868A-43A0-967F-C8C305FF64F4}" destId="{9F4CB671-437E-45FA-8A30-53E1923F9C22}" srcOrd="4" destOrd="0" parTransId="{6DCCE978-CE75-4DF4-84A6-B3AC46217B4B}" sibTransId="{4D461472-847C-4283-A10C-E72767176C0F}"/>
    <dgm:cxn modelId="{2F3E31C7-4A4B-44AB-B86E-AF67FC46AC13}" type="presOf" srcId="{9F4CB671-437E-45FA-8A30-53E1923F9C22}" destId="{C29986FF-E26B-475D-B01F-F8AB028553FE}" srcOrd="0" destOrd="0" presId="urn:microsoft.com/office/officeart/2005/8/layout/cycle1"/>
    <dgm:cxn modelId="{339AFFD1-3202-4C10-B557-F098B56183EB}" type="presOf" srcId="{AA1E0E91-8FE5-44B2-898B-1010BA50578D}" destId="{EC8438C2-99D3-4C6D-9166-815A1F2B5521}" srcOrd="0" destOrd="0" presId="urn:microsoft.com/office/officeart/2005/8/layout/cycle1"/>
    <dgm:cxn modelId="{4051109C-89C0-465E-B251-ACC86DB8B4E7}" type="presOf" srcId="{4D461472-847C-4283-A10C-E72767176C0F}" destId="{0A7F7B3A-DD2C-4247-916B-B94418930C01}" srcOrd="0" destOrd="0" presId="urn:microsoft.com/office/officeart/2005/8/layout/cycle1"/>
    <dgm:cxn modelId="{F72C863B-C5BF-4BA7-8924-B6A65F6DA0A3}" srcId="{32BD44F4-868A-43A0-967F-C8C305FF64F4}" destId="{384BB6EE-08F0-4E61-B3F1-FBB818BBDC24}" srcOrd="5" destOrd="0" parTransId="{D5FEE865-5A79-4EEE-A4AA-5017ECE6EFF0}" sibTransId="{96C48783-5122-444B-BB65-84748C7647C6}"/>
    <dgm:cxn modelId="{709CD336-5741-4180-827A-E83745741653}" type="presOf" srcId="{068F9E85-7ACF-419B-9AE7-AEA7DECDAED5}" destId="{9B39E7AA-7EDC-4293-8350-C742017AB269}" srcOrd="0" destOrd="0" presId="urn:microsoft.com/office/officeart/2005/8/layout/cycle1"/>
    <dgm:cxn modelId="{79ED4853-FDA3-4C51-8799-3E03893BB336}" srcId="{32BD44F4-868A-43A0-967F-C8C305FF64F4}" destId="{7F8E5D5C-CC4F-4151-A07F-2861194A5FF4}" srcOrd="1" destOrd="0" parTransId="{E06A86BE-23BA-4848-A495-E897B130227A}" sibTransId="{84F6AD11-D8A7-40B0-A1B2-E6825AEFD801}"/>
    <dgm:cxn modelId="{19FDABD6-CADE-4AEB-BCE0-8096D288D0A4}" srcId="{32BD44F4-868A-43A0-967F-C8C305FF64F4}" destId="{068F9E85-7ACF-419B-9AE7-AEA7DECDAED5}" srcOrd="7" destOrd="0" parTransId="{6B37E70E-B8AC-43FF-9004-4C63C4EB362A}" sibTransId="{2F31BA49-A2DC-4E34-B62F-E098F0BE4A63}"/>
    <dgm:cxn modelId="{84495633-9C3C-4CD5-B491-C297B9F7427F}" srcId="{32BD44F4-868A-43A0-967F-C8C305FF64F4}" destId="{AA1E0E91-8FE5-44B2-898B-1010BA50578D}" srcOrd="6" destOrd="0" parTransId="{34A853D8-BD64-4CF5-BD80-D371AA29DE42}" sibTransId="{831622B0-EB2B-4DF7-A6FB-9EC7EA23C7CD}"/>
    <dgm:cxn modelId="{4AD90287-A1DE-46DA-AA50-BEE8D7BBB9CB}" srcId="{32BD44F4-868A-43A0-967F-C8C305FF64F4}" destId="{EBDEF554-3930-4FD7-9507-C21B1AF1BD5D}" srcOrd="3" destOrd="0" parTransId="{5AC66D43-F0AB-47A2-9715-FD72F3272827}" sibTransId="{749A1B74-3BED-4C0A-BBF8-69334011ABCD}"/>
    <dgm:cxn modelId="{20C76F4B-E4D6-47B2-8EA4-8D752116F1E3}" type="presOf" srcId="{05C35E62-6CF8-4F43-A748-FFF78DA94E86}" destId="{87E4819C-4BBE-4E82-8D9B-066DEDAE2FBD}" srcOrd="0" destOrd="0" presId="urn:microsoft.com/office/officeart/2005/8/layout/cycle1"/>
    <dgm:cxn modelId="{7F40E38B-C377-4D2E-ADE7-3C6C03E2F4B9}" type="presOf" srcId="{32BD44F4-868A-43A0-967F-C8C305FF64F4}" destId="{5FD2BAE9-A923-43F6-AEC6-82655B33327A}" srcOrd="0" destOrd="0" presId="urn:microsoft.com/office/officeart/2005/8/layout/cycle1"/>
    <dgm:cxn modelId="{A412AFE2-A942-4094-A799-C70F8AAEB16E}" type="presOf" srcId="{96C48783-5122-444B-BB65-84748C7647C6}" destId="{B339914C-8AD0-481B-AFFA-2A7529F563C7}" srcOrd="0" destOrd="0" presId="urn:microsoft.com/office/officeart/2005/8/layout/cycle1"/>
    <dgm:cxn modelId="{0DED538F-07A5-4F19-ADC5-12376F2A9E00}" type="presOf" srcId="{7F8E5D5C-CC4F-4151-A07F-2861194A5FF4}" destId="{EE3022CC-CAE0-468C-A327-2E7840962F31}" srcOrd="0" destOrd="0" presId="urn:microsoft.com/office/officeart/2005/8/layout/cycle1"/>
    <dgm:cxn modelId="{54991788-E652-45B3-849E-90E53180B582}" type="presOf" srcId="{831622B0-EB2B-4DF7-A6FB-9EC7EA23C7CD}" destId="{77727E8B-A759-4D82-B27F-1E38D46F7172}" srcOrd="0" destOrd="0" presId="urn:microsoft.com/office/officeart/2005/8/layout/cycle1"/>
    <dgm:cxn modelId="{F62F5130-DEA3-43D9-A31E-80C9B127667D}" type="presParOf" srcId="{5FD2BAE9-A923-43F6-AEC6-82655B33327A}" destId="{D966C19B-6B49-4D16-A119-E18DD203F85E}" srcOrd="0" destOrd="0" presId="urn:microsoft.com/office/officeart/2005/8/layout/cycle1"/>
    <dgm:cxn modelId="{8B46965F-0F66-4F25-AD6E-40DACE77D94E}" type="presParOf" srcId="{5FD2BAE9-A923-43F6-AEC6-82655B33327A}" destId="{A33222F6-AD52-4728-B5E8-39401D439612}" srcOrd="1" destOrd="0" presId="urn:microsoft.com/office/officeart/2005/8/layout/cycle1"/>
    <dgm:cxn modelId="{68987E86-8615-4BD2-A0EA-560A524BAB38}" type="presParOf" srcId="{5FD2BAE9-A923-43F6-AEC6-82655B33327A}" destId="{87E4819C-4BBE-4E82-8D9B-066DEDAE2FBD}" srcOrd="2" destOrd="0" presId="urn:microsoft.com/office/officeart/2005/8/layout/cycle1"/>
    <dgm:cxn modelId="{5B20B1D4-965B-49D6-91B0-BEFC416B6677}" type="presParOf" srcId="{5FD2BAE9-A923-43F6-AEC6-82655B33327A}" destId="{FE84F332-699D-4307-A2D6-14E7B00237C0}" srcOrd="3" destOrd="0" presId="urn:microsoft.com/office/officeart/2005/8/layout/cycle1"/>
    <dgm:cxn modelId="{EBE5C76D-E3D2-41D1-BE61-D4F817D1C1D6}" type="presParOf" srcId="{5FD2BAE9-A923-43F6-AEC6-82655B33327A}" destId="{EE3022CC-CAE0-468C-A327-2E7840962F31}" srcOrd="4" destOrd="0" presId="urn:microsoft.com/office/officeart/2005/8/layout/cycle1"/>
    <dgm:cxn modelId="{CCED03E3-060B-4744-AAAE-5DF4103BA2C1}" type="presParOf" srcId="{5FD2BAE9-A923-43F6-AEC6-82655B33327A}" destId="{A8E3213B-812A-4C52-9CB9-8E7A7049C185}" srcOrd="5" destOrd="0" presId="urn:microsoft.com/office/officeart/2005/8/layout/cycle1"/>
    <dgm:cxn modelId="{FBB94392-0C04-4949-AF23-9199850697DD}" type="presParOf" srcId="{5FD2BAE9-A923-43F6-AEC6-82655B33327A}" destId="{77800BBB-F0CB-47E3-9437-2D81935D0817}" srcOrd="6" destOrd="0" presId="urn:microsoft.com/office/officeart/2005/8/layout/cycle1"/>
    <dgm:cxn modelId="{31DD639C-1785-4CAB-A3A0-E685AD061990}" type="presParOf" srcId="{5FD2BAE9-A923-43F6-AEC6-82655B33327A}" destId="{D1C49D3B-24A4-4DC3-BB07-C83020E24CF7}" srcOrd="7" destOrd="0" presId="urn:microsoft.com/office/officeart/2005/8/layout/cycle1"/>
    <dgm:cxn modelId="{69915D83-C4C7-4C2C-B637-D34262D722B4}" type="presParOf" srcId="{5FD2BAE9-A923-43F6-AEC6-82655B33327A}" destId="{D704F559-DDD5-44CD-8B9A-242CBDE96170}" srcOrd="8" destOrd="0" presId="urn:microsoft.com/office/officeart/2005/8/layout/cycle1"/>
    <dgm:cxn modelId="{3AD4220E-E252-41C5-8565-9AA6EB766317}" type="presParOf" srcId="{5FD2BAE9-A923-43F6-AEC6-82655B33327A}" destId="{B5E0883B-C7BD-462D-BDCA-2AC297FD4A90}" srcOrd="9" destOrd="0" presId="urn:microsoft.com/office/officeart/2005/8/layout/cycle1"/>
    <dgm:cxn modelId="{9FF12CD6-C0B7-4D47-9EB1-7DDD71E0BC5D}" type="presParOf" srcId="{5FD2BAE9-A923-43F6-AEC6-82655B33327A}" destId="{C7742C9D-4901-4FD5-BAE4-B2BB7F17A82E}" srcOrd="10" destOrd="0" presId="urn:microsoft.com/office/officeart/2005/8/layout/cycle1"/>
    <dgm:cxn modelId="{E9D1D177-7950-4B79-9F40-F7737AF719DF}" type="presParOf" srcId="{5FD2BAE9-A923-43F6-AEC6-82655B33327A}" destId="{02985A5F-CBEC-4029-9366-2118BDCF7125}" srcOrd="11" destOrd="0" presId="urn:microsoft.com/office/officeart/2005/8/layout/cycle1"/>
    <dgm:cxn modelId="{2E351AFD-CB2C-42F5-B3C2-9A7A8689C50B}" type="presParOf" srcId="{5FD2BAE9-A923-43F6-AEC6-82655B33327A}" destId="{3D1CBA2D-D359-4482-A544-1CD65AA391E0}" srcOrd="12" destOrd="0" presId="urn:microsoft.com/office/officeart/2005/8/layout/cycle1"/>
    <dgm:cxn modelId="{F593B091-B8EE-4D81-85E8-325E0C8ECED3}" type="presParOf" srcId="{5FD2BAE9-A923-43F6-AEC6-82655B33327A}" destId="{C29986FF-E26B-475D-B01F-F8AB028553FE}" srcOrd="13" destOrd="0" presId="urn:microsoft.com/office/officeart/2005/8/layout/cycle1"/>
    <dgm:cxn modelId="{B05FE229-4FAE-42D7-BDB2-2D75B040290E}" type="presParOf" srcId="{5FD2BAE9-A923-43F6-AEC6-82655B33327A}" destId="{0A7F7B3A-DD2C-4247-916B-B94418930C01}" srcOrd="14" destOrd="0" presId="urn:microsoft.com/office/officeart/2005/8/layout/cycle1"/>
    <dgm:cxn modelId="{6C24ED16-A36E-42D4-B4ED-81C0FDAA08EA}" type="presParOf" srcId="{5FD2BAE9-A923-43F6-AEC6-82655B33327A}" destId="{0DFC4BA3-934B-4A55-BE8F-9B5B89B31543}" srcOrd="15" destOrd="0" presId="urn:microsoft.com/office/officeart/2005/8/layout/cycle1"/>
    <dgm:cxn modelId="{1490139E-57BF-4ACA-9ABD-90525C5012B1}" type="presParOf" srcId="{5FD2BAE9-A923-43F6-AEC6-82655B33327A}" destId="{BCCF0A4C-1CCA-4739-959F-5951B5553F40}" srcOrd="16" destOrd="0" presId="urn:microsoft.com/office/officeart/2005/8/layout/cycle1"/>
    <dgm:cxn modelId="{43738F6C-0ACB-4707-A03C-172171BBD262}" type="presParOf" srcId="{5FD2BAE9-A923-43F6-AEC6-82655B33327A}" destId="{B339914C-8AD0-481B-AFFA-2A7529F563C7}" srcOrd="17" destOrd="0" presId="urn:microsoft.com/office/officeart/2005/8/layout/cycle1"/>
    <dgm:cxn modelId="{A612F0F3-BD1D-4054-B120-D8CDB7ED8A2F}" type="presParOf" srcId="{5FD2BAE9-A923-43F6-AEC6-82655B33327A}" destId="{2FFB0E0C-9290-4197-89D0-384C829B1DAD}" srcOrd="18" destOrd="0" presId="urn:microsoft.com/office/officeart/2005/8/layout/cycle1"/>
    <dgm:cxn modelId="{B94F977D-6193-4840-B53C-DB395A19A856}" type="presParOf" srcId="{5FD2BAE9-A923-43F6-AEC6-82655B33327A}" destId="{EC8438C2-99D3-4C6D-9166-815A1F2B5521}" srcOrd="19" destOrd="0" presId="urn:microsoft.com/office/officeart/2005/8/layout/cycle1"/>
    <dgm:cxn modelId="{D35FFCC5-0CB9-472D-9A96-9F96656F3DB3}" type="presParOf" srcId="{5FD2BAE9-A923-43F6-AEC6-82655B33327A}" destId="{77727E8B-A759-4D82-B27F-1E38D46F7172}" srcOrd="20" destOrd="0" presId="urn:microsoft.com/office/officeart/2005/8/layout/cycle1"/>
    <dgm:cxn modelId="{1FD63C47-B00B-4D1E-BFFC-0449925637AC}" type="presParOf" srcId="{5FD2BAE9-A923-43F6-AEC6-82655B33327A}" destId="{923E2469-499F-4928-A2F4-093D6C1815EE}" srcOrd="21" destOrd="0" presId="urn:microsoft.com/office/officeart/2005/8/layout/cycle1"/>
    <dgm:cxn modelId="{D5225F7C-B726-4617-B582-FDDDAB268B96}" type="presParOf" srcId="{5FD2BAE9-A923-43F6-AEC6-82655B33327A}" destId="{9B39E7AA-7EDC-4293-8350-C742017AB269}" srcOrd="22" destOrd="0" presId="urn:microsoft.com/office/officeart/2005/8/layout/cycle1"/>
    <dgm:cxn modelId="{3076E463-38DB-44C4-93CB-BC8A0844EA64}" type="presParOf" srcId="{5FD2BAE9-A923-43F6-AEC6-82655B33327A}" destId="{FD146727-7B24-4F7A-9A9B-DC75F64ECB37}" srcOrd="23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EDD07E6-7605-4151-AD69-720B245F1130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5E2C1584-2713-4445-B471-85346A450CF2}">
      <dgm:prSet phldrT="[文本]"/>
      <dgm:spPr/>
      <dgm:t>
        <a:bodyPr/>
        <a:lstStyle/>
        <a:p>
          <a:r>
            <a:rPr lang="zh-CN" altLang="en-US" dirty="0" smtClean="0"/>
            <a:t>用户需求分析</a:t>
          </a:r>
          <a:endParaRPr lang="zh-CN" altLang="en-US" dirty="0"/>
        </a:p>
      </dgm:t>
    </dgm:pt>
    <dgm:pt modelId="{6E2508F9-8A39-42DF-8B69-3F2743EB375B}" type="parTrans" cxnId="{A8414DE0-094E-4EBE-B08A-C1FFF34AE9EB}">
      <dgm:prSet/>
      <dgm:spPr/>
      <dgm:t>
        <a:bodyPr/>
        <a:lstStyle/>
        <a:p>
          <a:endParaRPr lang="zh-CN" altLang="en-US"/>
        </a:p>
      </dgm:t>
    </dgm:pt>
    <dgm:pt modelId="{F32FB73A-33BC-4AA5-8E22-C7FFF8AFA5DF}" type="sibTrans" cxnId="{A8414DE0-094E-4EBE-B08A-C1FFF34AE9EB}">
      <dgm:prSet/>
      <dgm:spPr/>
      <dgm:t>
        <a:bodyPr/>
        <a:lstStyle/>
        <a:p>
          <a:endParaRPr lang="zh-CN" altLang="en-US"/>
        </a:p>
      </dgm:t>
    </dgm:pt>
    <dgm:pt modelId="{9869C2D2-4E25-4DA6-AB38-BCD5FC7DDB66}">
      <dgm:prSet phldrT="[文本]"/>
      <dgm:spPr/>
      <dgm:t>
        <a:bodyPr/>
        <a:lstStyle/>
        <a:p>
          <a:r>
            <a:rPr lang="zh-CN" altLang="en-US" dirty="0" smtClean="0"/>
            <a:t>商业策划</a:t>
          </a:r>
          <a:endParaRPr lang="zh-CN" altLang="en-US" dirty="0"/>
        </a:p>
      </dgm:t>
    </dgm:pt>
    <dgm:pt modelId="{4AB846AF-858E-47AD-BA97-CB9017E2C482}" type="parTrans" cxnId="{9EE3B507-1A7A-46F5-89B1-E19CB979A8DB}">
      <dgm:prSet/>
      <dgm:spPr/>
      <dgm:t>
        <a:bodyPr/>
        <a:lstStyle/>
        <a:p>
          <a:endParaRPr lang="zh-CN" altLang="en-US"/>
        </a:p>
      </dgm:t>
    </dgm:pt>
    <dgm:pt modelId="{CB922660-F6C5-40C4-A1B0-D6117E6C0976}" type="sibTrans" cxnId="{9EE3B507-1A7A-46F5-89B1-E19CB979A8DB}">
      <dgm:prSet/>
      <dgm:spPr/>
      <dgm:t>
        <a:bodyPr/>
        <a:lstStyle/>
        <a:p>
          <a:endParaRPr lang="zh-CN" altLang="en-US"/>
        </a:p>
      </dgm:t>
    </dgm:pt>
    <dgm:pt modelId="{78FD63A2-5728-4881-B2A8-3C5FC1E8C1D3}">
      <dgm:prSet phldrT="[文本]"/>
      <dgm:spPr/>
      <dgm:t>
        <a:bodyPr/>
        <a:lstStyle/>
        <a:p>
          <a:r>
            <a:rPr lang="en-US" altLang="zh-CN" dirty="0" smtClean="0"/>
            <a:t> </a:t>
          </a:r>
          <a:r>
            <a:rPr lang="zh-CN" altLang="en-US" dirty="0" smtClean="0"/>
            <a:t>产品需求分析</a:t>
          </a:r>
          <a:endParaRPr lang="zh-CN" altLang="en-US" dirty="0"/>
        </a:p>
      </dgm:t>
    </dgm:pt>
    <dgm:pt modelId="{ECE4EB03-3CF6-4B89-8D83-38609701F777}" type="parTrans" cxnId="{18AEE215-A6E6-437C-BA1D-BE3ED610414B}">
      <dgm:prSet/>
      <dgm:spPr/>
      <dgm:t>
        <a:bodyPr/>
        <a:lstStyle/>
        <a:p>
          <a:endParaRPr lang="zh-CN" altLang="en-US"/>
        </a:p>
      </dgm:t>
    </dgm:pt>
    <dgm:pt modelId="{17C999FF-9E84-4C24-BEE9-5B2BD6DD0391}" type="sibTrans" cxnId="{18AEE215-A6E6-437C-BA1D-BE3ED610414B}">
      <dgm:prSet/>
      <dgm:spPr/>
      <dgm:t>
        <a:bodyPr/>
        <a:lstStyle/>
        <a:p>
          <a:endParaRPr lang="zh-CN" altLang="en-US"/>
        </a:p>
      </dgm:t>
    </dgm:pt>
    <dgm:pt modelId="{AE693566-6969-4941-95C2-F6BD00E82CFF}">
      <dgm:prSet phldrT="[文本]"/>
      <dgm:spPr/>
      <dgm:t>
        <a:bodyPr/>
        <a:lstStyle/>
        <a:p>
          <a:r>
            <a:rPr lang="zh-CN" altLang="en-US" dirty="0" smtClean="0"/>
            <a:t>产品设计</a:t>
          </a:r>
          <a:endParaRPr lang="zh-CN" altLang="en-US" dirty="0"/>
        </a:p>
      </dgm:t>
    </dgm:pt>
    <dgm:pt modelId="{67C3AF1D-C1A4-4650-B651-AF61076D096F}" type="parTrans" cxnId="{49759253-3A43-46DF-A3D5-EED79D0AB8C3}">
      <dgm:prSet/>
      <dgm:spPr/>
      <dgm:t>
        <a:bodyPr/>
        <a:lstStyle/>
        <a:p>
          <a:endParaRPr lang="zh-CN" altLang="en-US"/>
        </a:p>
      </dgm:t>
    </dgm:pt>
    <dgm:pt modelId="{6F1A0442-9C71-436B-8E65-53110B121578}" type="sibTrans" cxnId="{49759253-3A43-46DF-A3D5-EED79D0AB8C3}">
      <dgm:prSet/>
      <dgm:spPr/>
      <dgm:t>
        <a:bodyPr/>
        <a:lstStyle/>
        <a:p>
          <a:endParaRPr lang="zh-CN" altLang="en-US"/>
        </a:p>
      </dgm:t>
    </dgm:pt>
    <dgm:pt modelId="{244B5EFE-8946-4D3C-B744-4526995A3F07}">
      <dgm:prSet phldrT="[文本]"/>
      <dgm:spPr/>
      <dgm:t>
        <a:bodyPr/>
        <a:lstStyle/>
        <a:p>
          <a:r>
            <a:rPr lang="zh-CN" altLang="en-US" dirty="0" smtClean="0"/>
            <a:t>网站运营</a:t>
          </a:r>
          <a:endParaRPr lang="zh-CN" altLang="en-US" dirty="0"/>
        </a:p>
      </dgm:t>
    </dgm:pt>
    <dgm:pt modelId="{F4A90FBF-C7CA-4A88-8268-BEBD992FBC11}" type="parTrans" cxnId="{4BA342B0-55CD-4CDD-ACD0-57680178E7AF}">
      <dgm:prSet/>
      <dgm:spPr/>
      <dgm:t>
        <a:bodyPr/>
        <a:lstStyle/>
        <a:p>
          <a:endParaRPr lang="zh-CN" altLang="en-US"/>
        </a:p>
      </dgm:t>
    </dgm:pt>
    <dgm:pt modelId="{E08D9056-FBDE-4100-B5D5-34A409066589}" type="sibTrans" cxnId="{4BA342B0-55CD-4CDD-ACD0-57680178E7AF}">
      <dgm:prSet/>
      <dgm:spPr/>
      <dgm:t>
        <a:bodyPr/>
        <a:lstStyle/>
        <a:p>
          <a:endParaRPr lang="zh-CN" altLang="en-US"/>
        </a:p>
      </dgm:t>
    </dgm:pt>
    <dgm:pt modelId="{1578B200-E658-41BB-B563-0AB4251293FB}">
      <dgm:prSet phldrT="[文本]"/>
      <dgm:spPr/>
      <dgm:t>
        <a:bodyPr/>
        <a:lstStyle/>
        <a:p>
          <a:r>
            <a:rPr lang="zh-CN" altLang="en-US" dirty="0" smtClean="0"/>
            <a:t>架构与设计</a:t>
          </a:r>
          <a:endParaRPr lang="zh-CN" altLang="en-US" dirty="0"/>
        </a:p>
      </dgm:t>
    </dgm:pt>
    <dgm:pt modelId="{2CC1E971-70B9-4749-8FD9-7F512E29F262}" type="parTrans" cxnId="{9426845C-AB7F-461E-9602-D0831DDBFBD1}">
      <dgm:prSet/>
      <dgm:spPr/>
      <dgm:t>
        <a:bodyPr/>
        <a:lstStyle/>
        <a:p>
          <a:endParaRPr lang="zh-CN" altLang="en-US"/>
        </a:p>
      </dgm:t>
    </dgm:pt>
    <dgm:pt modelId="{67583D56-9B5C-4033-ABE2-63DEFF016E68}" type="sibTrans" cxnId="{9426845C-AB7F-461E-9602-D0831DDBFBD1}">
      <dgm:prSet/>
      <dgm:spPr/>
      <dgm:t>
        <a:bodyPr/>
        <a:lstStyle/>
        <a:p>
          <a:endParaRPr lang="zh-CN" altLang="en-US"/>
        </a:p>
      </dgm:t>
    </dgm:pt>
    <dgm:pt modelId="{96805BEC-3036-46F4-83E5-D0AE05E847E0}">
      <dgm:prSet phldrT="[文本]"/>
      <dgm:spPr/>
      <dgm:t>
        <a:bodyPr/>
        <a:lstStyle/>
        <a:p>
          <a:r>
            <a:rPr lang="zh-CN" altLang="en-US" dirty="0" smtClean="0"/>
            <a:t>架构师</a:t>
          </a:r>
          <a:endParaRPr lang="zh-CN" altLang="en-US" dirty="0"/>
        </a:p>
      </dgm:t>
    </dgm:pt>
    <dgm:pt modelId="{374654E2-4859-491D-82A0-2A0EC9C8B422}" type="parTrans" cxnId="{BB5F1ECF-CB72-4C47-9B51-E779FCDCF4A1}">
      <dgm:prSet/>
      <dgm:spPr/>
      <dgm:t>
        <a:bodyPr/>
        <a:lstStyle/>
        <a:p>
          <a:endParaRPr lang="zh-CN" altLang="en-US"/>
        </a:p>
      </dgm:t>
    </dgm:pt>
    <dgm:pt modelId="{399F3571-E66C-4D58-A4FF-48EC76EE4833}" type="sibTrans" cxnId="{BB5F1ECF-CB72-4C47-9B51-E779FCDCF4A1}">
      <dgm:prSet/>
      <dgm:spPr/>
      <dgm:t>
        <a:bodyPr/>
        <a:lstStyle/>
        <a:p>
          <a:endParaRPr lang="zh-CN" altLang="en-US"/>
        </a:p>
      </dgm:t>
    </dgm:pt>
    <dgm:pt modelId="{68C62A39-C8F9-495C-B474-403898CF5106}">
      <dgm:prSet phldrT="[文本]"/>
      <dgm:spPr/>
      <dgm:t>
        <a:bodyPr/>
        <a:lstStyle/>
        <a:p>
          <a:r>
            <a:rPr lang="zh-CN" altLang="en-US" dirty="0" smtClean="0"/>
            <a:t>研发实施</a:t>
          </a:r>
          <a:endParaRPr lang="zh-CN" altLang="en-US" dirty="0"/>
        </a:p>
      </dgm:t>
    </dgm:pt>
    <dgm:pt modelId="{BE45D561-E354-467F-86AF-5CF57A5E3F31}" type="parTrans" cxnId="{F88C2841-E7C7-4FE9-926A-D531A3C19F5A}">
      <dgm:prSet/>
      <dgm:spPr/>
      <dgm:t>
        <a:bodyPr/>
        <a:lstStyle/>
        <a:p>
          <a:endParaRPr lang="zh-CN" altLang="en-US"/>
        </a:p>
      </dgm:t>
    </dgm:pt>
    <dgm:pt modelId="{A445683B-6AF9-4ADF-A301-6A2CEE935086}" type="sibTrans" cxnId="{F88C2841-E7C7-4FE9-926A-D531A3C19F5A}">
      <dgm:prSet/>
      <dgm:spPr/>
      <dgm:t>
        <a:bodyPr/>
        <a:lstStyle/>
        <a:p>
          <a:endParaRPr lang="zh-CN" altLang="en-US"/>
        </a:p>
      </dgm:t>
    </dgm:pt>
    <dgm:pt modelId="{2E9D7D55-72CE-4202-BA0B-2F529AA23F42}">
      <dgm:prSet phldrT="[文本]"/>
      <dgm:spPr/>
      <dgm:t>
        <a:bodyPr/>
        <a:lstStyle/>
        <a:p>
          <a:r>
            <a:rPr lang="zh-CN" altLang="en-US" dirty="0" smtClean="0"/>
            <a:t>市场策划</a:t>
          </a:r>
          <a:endParaRPr lang="zh-CN" altLang="en-US" dirty="0"/>
        </a:p>
      </dgm:t>
    </dgm:pt>
    <dgm:pt modelId="{0B10691C-56DC-444B-961E-269AC5D13279}" type="parTrans" cxnId="{6E5CEDA7-00A6-461C-BAE5-1D972DDD48C2}">
      <dgm:prSet/>
      <dgm:spPr/>
      <dgm:t>
        <a:bodyPr/>
        <a:lstStyle/>
        <a:p>
          <a:endParaRPr lang="zh-CN" altLang="en-US"/>
        </a:p>
      </dgm:t>
    </dgm:pt>
    <dgm:pt modelId="{4BA9FDDB-A2FA-4D87-9602-8AFDB21D9697}" type="sibTrans" cxnId="{6E5CEDA7-00A6-461C-BAE5-1D972DDD48C2}">
      <dgm:prSet/>
      <dgm:spPr/>
      <dgm:t>
        <a:bodyPr/>
        <a:lstStyle/>
        <a:p>
          <a:endParaRPr lang="zh-CN" altLang="en-US"/>
        </a:p>
      </dgm:t>
    </dgm:pt>
    <dgm:pt modelId="{754A87B2-C129-4E09-B6AB-FDCF65A2305E}">
      <dgm:prSet phldrT="[文本]"/>
      <dgm:spPr/>
      <dgm:t>
        <a:bodyPr/>
        <a:lstStyle/>
        <a:p>
          <a:r>
            <a:rPr lang="zh-CN" altLang="en-US" dirty="0" smtClean="0"/>
            <a:t>质量测试</a:t>
          </a:r>
          <a:endParaRPr lang="zh-CN" altLang="en-US" dirty="0"/>
        </a:p>
      </dgm:t>
    </dgm:pt>
    <dgm:pt modelId="{7357655E-2EFF-40BA-B149-7661BB1BE350}" type="parTrans" cxnId="{ABC47DE9-0250-4B8D-8EC3-3273A7ECDB00}">
      <dgm:prSet/>
      <dgm:spPr/>
      <dgm:t>
        <a:bodyPr/>
        <a:lstStyle/>
        <a:p>
          <a:endParaRPr lang="zh-CN" altLang="en-US"/>
        </a:p>
      </dgm:t>
    </dgm:pt>
    <dgm:pt modelId="{ABEE3E77-63EB-4E97-82B5-7E3405133008}" type="sibTrans" cxnId="{ABC47DE9-0250-4B8D-8EC3-3273A7ECDB00}">
      <dgm:prSet/>
      <dgm:spPr/>
      <dgm:t>
        <a:bodyPr/>
        <a:lstStyle/>
        <a:p>
          <a:endParaRPr lang="zh-CN" altLang="en-US"/>
        </a:p>
      </dgm:t>
    </dgm:pt>
    <dgm:pt modelId="{F5564926-B278-45DD-BEFF-36185A5552CA}">
      <dgm:prSet phldrT="[文本]"/>
      <dgm:spPr/>
      <dgm:t>
        <a:bodyPr/>
        <a:lstStyle/>
        <a:p>
          <a:r>
            <a:rPr lang="zh-CN" altLang="en-US" dirty="0" smtClean="0"/>
            <a:t>运营团队</a:t>
          </a:r>
          <a:endParaRPr lang="zh-CN" altLang="en-US" dirty="0"/>
        </a:p>
      </dgm:t>
    </dgm:pt>
    <dgm:pt modelId="{52DB0A2A-7FAC-4593-9DED-4B73270EDAF2}" type="parTrans" cxnId="{D044BE8E-2F9C-4C17-89E6-F7827D930F10}">
      <dgm:prSet/>
      <dgm:spPr/>
      <dgm:t>
        <a:bodyPr/>
        <a:lstStyle/>
        <a:p>
          <a:endParaRPr lang="zh-CN" altLang="en-US"/>
        </a:p>
      </dgm:t>
    </dgm:pt>
    <dgm:pt modelId="{B4FEE6E4-657A-4FA5-B481-D68887BDDD48}" type="sibTrans" cxnId="{D044BE8E-2F9C-4C17-89E6-F7827D930F10}">
      <dgm:prSet/>
      <dgm:spPr/>
      <dgm:t>
        <a:bodyPr/>
        <a:lstStyle/>
        <a:p>
          <a:endParaRPr lang="zh-CN" altLang="en-US"/>
        </a:p>
      </dgm:t>
    </dgm:pt>
    <dgm:pt modelId="{A86AD711-AA96-450D-8862-78846D293027}">
      <dgm:prSet phldrT="[文本]"/>
      <dgm:spPr/>
      <dgm:t>
        <a:bodyPr/>
        <a:lstStyle/>
        <a:p>
          <a:r>
            <a:rPr lang="zh-CN" altLang="en-US" dirty="0" smtClean="0"/>
            <a:t>程序员</a:t>
          </a:r>
          <a:endParaRPr lang="zh-CN" altLang="en-US" dirty="0"/>
        </a:p>
      </dgm:t>
    </dgm:pt>
    <dgm:pt modelId="{6659116B-9946-4E69-B491-E207E8387777}" type="parTrans" cxnId="{DF94B9D3-71BE-45AB-AE59-D7EE66D599FE}">
      <dgm:prSet/>
      <dgm:spPr/>
      <dgm:t>
        <a:bodyPr/>
        <a:lstStyle/>
        <a:p>
          <a:endParaRPr lang="zh-CN" altLang="en-US"/>
        </a:p>
      </dgm:t>
    </dgm:pt>
    <dgm:pt modelId="{0EBF8EA8-FDB0-4A75-8A52-29F8F4B4FE92}" type="sibTrans" cxnId="{DF94B9D3-71BE-45AB-AE59-D7EE66D599FE}">
      <dgm:prSet/>
      <dgm:spPr/>
      <dgm:t>
        <a:bodyPr/>
        <a:lstStyle/>
        <a:p>
          <a:endParaRPr lang="zh-CN" altLang="en-US"/>
        </a:p>
      </dgm:t>
    </dgm:pt>
    <dgm:pt modelId="{AF909F81-F1FE-4859-B919-88A3691646BF}">
      <dgm:prSet phldrT="[文本]"/>
      <dgm:spPr/>
      <dgm:t>
        <a:bodyPr/>
        <a:lstStyle/>
        <a:p>
          <a:r>
            <a:rPr lang="zh-CN" altLang="en-US" dirty="0" smtClean="0"/>
            <a:t>项目经理</a:t>
          </a:r>
          <a:endParaRPr lang="zh-CN" altLang="en-US" dirty="0"/>
        </a:p>
      </dgm:t>
    </dgm:pt>
    <dgm:pt modelId="{D8A3AD15-FDAB-4B67-A17F-822B5C9BED28}" type="parTrans" cxnId="{25AA5615-7A58-4A15-A660-D14119C6A1B8}">
      <dgm:prSet/>
      <dgm:spPr/>
      <dgm:t>
        <a:bodyPr/>
        <a:lstStyle/>
        <a:p>
          <a:endParaRPr lang="zh-CN" altLang="en-US"/>
        </a:p>
      </dgm:t>
    </dgm:pt>
    <dgm:pt modelId="{4DC56ADB-45DD-4674-9748-4A2EB0FEB86A}" type="sibTrans" cxnId="{25AA5615-7A58-4A15-A660-D14119C6A1B8}">
      <dgm:prSet/>
      <dgm:spPr/>
      <dgm:t>
        <a:bodyPr/>
        <a:lstStyle/>
        <a:p>
          <a:endParaRPr lang="zh-CN" altLang="en-US"/>
        </a:p>
      </dgm:t>
    </dgm:pt>
    <dgm:pt modelId="{E622FB13-C794-42A5-9171-FBC698433FF2}">
      <dgm:prSet phldrT="[文本]"/>
      <dgm:spPr/>
      <dgm:t>
        <a:bodyPr/>
        <a:lstStyle/>
        <a:p>
          <a:r>
            <a:rPr lang="zh-CN" altLang="en-US" dirty="0" smtClean="0"/>
            <a:t>用户体验</a:t>
          </a:r>
          <a:endParaRPr lang="zh-CN" altLang="en-US" dirty="0"/>
        </a:p>
      </dgm:t>
    </dgm:pt>
    <dgm:pt modelId="{5D9183DA-C980-40D7-9B0B-856C3BB3ED14}" type="parTrans" cxnId="{26F67FEE-5444-46AF-B1A8-7AAFFB4092C6}">
      <dgm:prSet/>
      <dgm:spPr/>
      <dgm:t>
        <a:bodyPr/>
        <a:lstStyle/>
        <a:p>
          <a:endParaRPr lang="zh-CN" altLang="en-US"/>
        </a:p>
      </dgm:t>
    </dgm:pt>
    <dgm:pt modelId="{C01699F7-A8E4-4E4C-89A4-5649279E272A}" type="sibTrans" cxnId="{26F67FEE-5444-46AF-B1A8-7AAFFB4092C6}">
      <dgm:prSet/>
      <dgm:spPr/>
      <dgm:t>
        <a:bodyPr/>
        <a:lstStyle/>
        <a:p>
          <a:endParaRPr lang="zh-CN" altLang="en-US"/>
        </a:p>
      </dgm:t>
    </dgm:pt>
    <dgm:pt modelId="{34FFC5A2-25E9-4310-B6A3-855822D18E78}">
      <dgm:prSet phldrT="[文本]"/>
      <dgm:spPr/>
      <dgm:t>
        <a:bodyPr/>
        <a:lstStyle/>
        <a:p>
          <a:r>
            <a:rPr lang="zh-CN" altLang="en-US" dirty="0" smtClean="0"/>
            <a:t>测试</a:t>
          </a:r>
          <a:endParaRPr lang="zh-CN" altLang="en-US" dirty="0"/>
        </a:p>
      </dgm:t>
    </dgm:pt>
    <dgm:pt modelId="{949773C1-8CDC-46A0-8AEE-DD5897578F79}" type="parTrans" cxnId="{769E8552-03B5-42C2-8998-3641A6B1E602}">
      <dgm:prSet/>
      <dgm:spPr/>
      <dgm:t>
        <a:bodyPr/>
        <a:lstStyle/>
        <a:p>
          <a:endParaRPr lang="zh-CN" altLang="en-US"/>
        </a:p>
      </dgm:t>
    </dgm:pt>
    <dgm:pt modelId="{AD1AE100-FADA-4962-A79D-925F7C5A7F06}" type="sibTrans" cxnId="{769E8552-03B5-42C2-8998-3641A6B1E602}">
      <dgm:prSet/>
      <dgm:spPr/>
      <dgm:t>
        <a:bodyPr/>
        <a:lstStyle/>
        <a:p>
          <a:endParaRPr lang="zh-CN" altLang="en-US"/>
        </a:p>
      </dgm:t>
    </dgm:pt>
    <dgm:pt modelId="{A09467E6-BFBC-44B2-B5E2-9C300E7979EC}">
      <dgm:prSet phldrT="[文本]"/>
      <dgm:spPr/>
      <dgm:t>
        <a:bodyPr/>
        <a:lstStyle/>
        <a:p>
          <a:r>
            <a:rPr lang="zh-CN" altLang="en-US" dirty="0" smtClean="0"/>
            <a:t>流程控制</a:t>
          </a:r>
          <a:endParaRPr lang="zh-CN" altLang="en-US" dirty="0"/>
        </a:p>
      </dgm:t>
    </dgm:pt>
    <dgm:pt modelId="{8502E50D-1009-4CA7-B3B1-A490A37DF3E8}" type="parTrans" cxnId="{2EB347C9-2DBF-44BD-9EFD-E3A7B09E66AD}">
      <dgm:prSet/>
      <dgm:spPr/>
      <dgm:t>
        <a:bodyPr/>
        <a:lstStyle/>
        <a:p>
          <a:endParaRPr lang="zh-CN" altLang="en-US"/>
        </a:p>
      </dgm:t>
    </dgm:pt>
    <dgm:pt modelId="{36657A4C-103F-474C-BEC8-57FC8F3A146A}" type="sibTrans" cxnId="{2EB347C9-2DBF-44BD-9EFD-E3A7B09E66AD}">
      <dgm:prSet/>
      <dgm:spPr/>
      <dgm:t>
        <a:bodyPr/>
        <a:lstStyle/>
        <a:p>
          <a:endParaRPr lang="zh-CN" altLang="en-US"/>
        </a:p>
      </dgm:t>
    </dgm:pt>
    <dgm:pt modelId="{E233825A-7B9C-4E1A-B348-28CF7DAF6163}">
      <dgm:prSet phldrT="[文本]"/>
      <dgm:spPr/>
      <dgm:t>
        <a:bodyPr/>
        <a:lstStyle/>
        <a:p>
          <a:r>
            <a:rPr lang="zh-CN" altLang="en-US" dirty="0" smtClean="0"/>
            <a:t>产品运营</a:t>
          </a:r>
          <a:endParaRPr lang="zh-CN" altLang="en-US" dirty="0"/>
        </a:p>
      </dgm:t>
    </dgm:pt>
    <dgm:pt modelId="{02F451CF-3F4B-4C77-87FF-4E6B51FFA92D}" type="parTrans" cxnId="{8AEF55EA-F6C8-44CD-B903-98C5F5232068}">
      <dgm:prSet/>
      <dgm:spPr/>
      <dgm:t>
        <a:bodyPr/>
        <a:lstStyle/>
        <a:p>
          <a:endParaRPr lang="zh-CN" altLang="en-US"/>
        </a:p>
      </dgm:t>
    </dgm:pt>
    <dgm:pt modelId="{31320BD0-8C3C-40D1-B8F4-F0338EB12C55}" type="sibTrans" cxnId="{8AEF55EA-F6C8-44CD-B903-98C5F5232068}">
      <dgm:prSet/>
      <dgm:spPr/>
      <dgm:t>
        <a:bodyPr/>
        <a:lstStyle/>
        <a:p>
          <a:endParaRPr lang="zh-CN" altLang="en-US"/>
        </a:p>
      </dgm:t>
    </dgm:pt>
    <dgm:pt modelId="{EE745945-886D-4D89-B55D-8BE40C2E0B32}">
      <dgm:prSet phldrT="[文本]"/>
      <dgm:spPr/>
      <dgm:t>
        <a:bodyPr/>
        <a:lstStyle/>
        <a:p>
          <a:r>
            <a:rPr lang="zh-CN" altLang="en-US" dirty="0" smtClean="0"/>
            <a:t>客户服务</a:t>
          </a:r>
          <a:endParaRPr lang="zh-CN" altLang="en-US" dirty="0"/>
        </a:p>
      </dgm:t>
    </dgm:pt>
    <dgm:pt modelId="{4D040E3B-885A-4BC7-90B4-FC2A50CAFF84}" type="parTrans" cxnId="{6E2FBCD0-3E12-4853-A77C-CB3BC953D16F}">
      <dgm:prSet/>
      <dgm:spPr/>
      <dgm:t>
        <a:bodyPr/>
        <a:lstStyle/>
        <a:p>
          <a:endParaRPr lang="zh-CN" altLang="en-US"/>
        </a:p>
      </dgm:t>
    </dgm:pt>
    <dgm:pt modelId="{0847A4DB-32B0-4595-B434-3DE11AF3A7CB}" type="sibTrans" cxnId="{6E2FBCD0-3E12-4853-A77C-CB3BC953D16F}">
      <dgm:prSet/>
      <dgm:spPr/>
      <dgm:t>
        <a:bodyPr/>
        <a:lstStyle/>
        <a:p>
          <a:endParaRPr lang="zh-CN" altLang="en-US"/>
        </a:p>
      </dgm:t>
    </dgm:pt>
    <dgm:pt modelId="{85831083-C70F-4148-8F34-5B17E799A189}" type="pres">
      <dgm:prSet presAssocID="{7EDD07E6-7605-4151-AD69-720B245F113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3B65C149-909F-4ACE-B28E-B78378649D53}" type="pres">
      <dgm:prSet presAssocID="{5E2C1584-2713-4445-B471-85346A450CF2}" presName="composite" presStyleCnt="0"/>
      <dgm:spPr/>
    </dgm:pt>
    <dgm:pt modelId="{B9A1B6F4-2769-410E-A62C-9C8F12EE90E7}" type="pres">
      <dgm:prSet presAssocID="{5E2C1584-2713-4445-B471-85346A450CF2}" presName="parentText" presStyleLbl="align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92F7C32-2349-4378-AE02-7C2BF99E364C}" type="pres">
      <dgm:prSet presAssocID="{5E2C1584-2713-4445-B471-85346A450CF2}" presName="descendantText" presStyleLbl="alignAcc1" presStyleIdx="0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E5FC97D-7D4A-455C-849D-369E6D16743E}" type="pres">
      <dgm:prSet presAssocID="{F32FB73A-33BC-4AA5-8E22-C7FFF8AFA5DF}" presName="sp" presStyleCnt="0"/>
      <dgm:spPr/>
    </dgm:pt>
    <dgm:pt modelId="{B4704A35-0330-4B93-AB77-CA69DD95E73D}" type="pres">
      <dgm:prSet presAssocID="{78FD63A2-5728-4881-B2A8-3C5FC1E8C1D3}" presName="composite" presStyleCnt="0"/>
      <dgm:spPr/>
    </dgm:pt>
    <dgm:pt modelId="{B5AC3E72-AD74-4585-BA95-20A1786D41F5}" type="pres">
      <dgm:prSet presAssocID="{78FD63A2-5728-4881-B2A8-3C5FC1E8C1D3}" presName="parentText" presStyleLbl="align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8336D18-8A06-4A1D-9302-26BE0AFF52FB}" type="pres">
      <dgm:prSet presAssocID="{78FD63A2-5728-4881-B2A8-3C5FC1E8C1D3}" presName="descendantText" presStyleLbl="alignAcc1" presStyleIdx="1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C6C612B-275F-42E9-BF3E-981E7782032C}" type="pres">
      <dgm:prSet presAssocID="{17C999FF-9E84-4C24-BEE9-5B2BD6DD0391}" presName="sp" presStyleCnt="0"/>
      <dgm:spPr/>
    </dgm:pt>
    <dgm:pt modelId="{49CAA8E0-2D11-461D-BA92-74756FF73AB1}" type="pres">
      <dgm:prSet presAssocID="{1578B200-E658-41BB-B563-0AB4251293FB}" presName="composite" presStyleCnt="0"/>
      <dgm:spPr/>
    </dgm:pt>
    <dgm:pt modelId="{7DE07682-9E18-43D3-ABEB-811A00D60F61}" type="pres">
      <dgm:prSet presAssocID="{1578B200-E658-41BB-B563-0AB4251293FB}" presName="parentText" presStyleLbl="align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CC99E00-8C73-4CE4-8825-0A1ACE217798}" type="pres">
      <dgm:prSet presAssocID="{1578B200-E658-41BB-B563-0AB4251293FB}" presName="descendantText" presStyleLbl="alignAcc1" presStyleIdx="2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C6400E1-E191-4200-852D-C7FCA474926E}" type="pres">
      <dgm:prSet presAssocID="{67583D56-9B5C-4033-ABE2-63DEFF016E68}" presName="sp" presStyleCnt="0"/>
      <dgm:spPr/>
    </dgm:pt>
    <dgm:pt modelId="{829CDF58-1948-48A9-BD0F-4224A5540422}" type="pres">
      <dgm:prSet presAssocID="{68C62A39-C8F9-495C-B474-403898CF5106}" presName="composite" presStyleCnt="0"/>
      <dgm:spPr/>
    </dgm:pt>
    <dgm:pt modelId="{88A4FD17-0A1E-459D-94C9-8DD446C26167}" type="pres">
      <dgm:prSet presAssocID="{68C62A39-C8F9-495C-B474-403898CF5106}" presName="parentText" presStyleLbl="align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3F2940B-9E75-4E2F-8A9C-0CABB6254C4F}" type="pres">
      <dgm:prSet presAssocID="{68C62A39-C8F9-495C-B474-403898CF5106}" presName="descendantText" presStyleLbl="alignAcc1" presStyleIdx="3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DC3BA66-4341-42A6-83B0-CA29676C7820}" type="pres">
      <dgm:prSet presAssocID="{A445683B-6AF9-4ADF-A301-6A2CEE935086}" presName="sp" presStyleCnt="0"/>
      <dgm:spPr/>
    </dgm:pt>
    <dgm:pt modelId="{4BEF9C9A-6015-4442-BB4A-8A329E823C3D}" type="pres">
      <dgm:prSet presAssocID="{754A87B2-C129-4E09-B6AB-FDCF65A2305E}" presName="composite" presStyleCnt="0"/>
      <dgm:spPr/>
    </dgm:pt>
    <dgm:pt modelId="{B62CF233-C6DE-43AA-8FED-D414E4C5851B}" type="pres">
      <dgm:prSet presAssocID="{754A87B2-C129-4E09-B6AB-FDCF65A2305E}" presName="parentText" presStyleLbl="align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2380C26-7031-4872-B948-B3B139C48B93}" type="pres">
      <dgm:prSet presAssocID="{754A87B2-C129-4E09-B6AB-FDCF65A2305E}" presName="descendantText" presStyleLbl="alignAcc1" presStyleIdx="4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DD0EE49-EDC4-46A9-A312-10E7511336F3}" type="pres">
      <dgm:prSet presAssocID="{ABEE3E77-63EB-4E97-82B5-7E3405133008}" presName="sp" presStyleCnt="0"/>
      <dgm:spPr/>
    </dgm:pt>
    <dgm:pt modelId="{18F5EAE9-2558-4488-BF15-D351E0AF389A}" type="pres">
      <dgm:prSet presAssocID="{F5564926-B278-45DD-BEFF-36185A5552CA}" presName="composite" presStyleCnt="0"/>
      <dgm:spPr/>
    </dgm:pt>
    <dgm:pt modelId="{E5940869-E5AB-401C-9004-799CB20D6B64}" type="pres">
      <dgm:prSet presAssocID="{F5564926-B278-45DD-BEFF-36185A5552CA}" presName="parentText" presStyleLbl="align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2016F92-3900-456B-9E8C-217727D7172A}" type="pres">
      <dgm:prSet presAssocID="{F5564926-B278-45DD-BEFF-36185A5552CA}" presName="descendantText" presStyleLbl="alignAcc1" presStyleIdx="5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8B500934-8831-495F-85A1-15E48C0BFE7A}" type="presOf" srcId="{7EDD07E6-7605-4151-AD69-720B245F1130}" destId="{85831083-C70F-4148-8F34-5B17E799A189}" srcOrd="0" destOrd="0" presId="urn:microsoft.com/office/officeart/2005/8/layout/chevron2"/>
    <dgm:cxn modelId="{6CC4FCD5-6163-43EB-8BAD-004F3F98725F}" type="presOf" srcId="{244B5EFE-8946-4D3C-B744-4526995A3F07}" destId="{E8336D18-8A06-4A1D-9302-26BE0AFF52FB}" srcOrd="0" destOrd="1" presId="urn:microsoft.com/office/officeart/2005/8/layout/chevron2"/>
    <dgm:cxn modelId="{18AEE215-A6E6-437C-BA1D-BE3ED610414B}" srcId="{7EDD07E6-7605-4151-AD69-720B245F1130}" destId="{78FD63A2-5728-4881-B2A8-3C5FC1E8C1D3}" srcOrd="1" destOrd="0" parTransId="{ECE4EB03-3CF6-4B89-8D83-38609701F777}" sibTransId="{17C999FF-9E84-4C24-BEE9-5B2BD6DD0391}"/>
    <dgm:cxn modelId="{49759253-3A43-46DF-A3D5-EED79D0AB8C3}" srcId="{78FD63A2-5728-4881-B2A8-3C5FC1E8C1D3}" destId="{AE693566-6969-4941-95C2-F6BD00E82CFF}" srcOrd="0" destOrd="0" parTransId="{67C3AF1D-C1A4-4650-B651-AF61076D096F}" sibTransId="{6F1A0442-9C71-436B-8E65-53110B121578}"/>
    <dgm:cxn modelId="{F3AC1A33-7D46-4FD0-ABAA-67EE04910C0C}" type="presOf" srcId="{754A87B2-C129-4E09-B6AB-FDCF65A2305E}" destId="{B62CF233-C6DE-43AA-8FED-D414E4C5851B}" srcOrd="0" destOrd="0" presId="urn:microsoft.com/office/officeart/2005/8/layout/chevron2"/>
    <dgm:cxn modelId="{07C49C37-0CF9-4B89-861F-EA93351C31E5}" type="presOf" srcId="{96805BEC-3036-46F4-83E5-D0AE05E847E0}" destId="{3CC99E00-8C73-4CE4-8825-0A1ACE217798}" srcOrd="0" destOrd="0" presId="urn:microsoft.com/office/officeart/2005/8/layout/chevron2"/>
    <dgm:cxn modelId="{BB5CA8D1-6109-4FD3-A747-4AAF7AAB7078}" type="presOf" srcId="{78FD63A2-5728-4881-B2A8-3C5FC1E8C1D3}" destId="{B5AC3E72-AD74-4585-BA95-20A1786D41F5}" srcOrd="0" destOrd="0" presId="urn:microsoft.com/office/officeart/2005/8/layout/chevron2"/>
    <dgm:cxn modelId="{9EE3B507-1A7A-46F5-89B1-E19CB979A8DB}" srcId="{5E2C1584-2713-4445-B471-85346A450CF2}" destId="{9869C2D2-4E25-4DA6-AB38-BCD5FC7DDB66}" srcOrd="0" destOrd="0" parTransId="{4AB846AF-858E-47AD-BA97-CB9017E2C482}" sibTransId="{CB922660-F6C5-40C4-A1B0-D6117E6C0976}"/>
    <dgm:cxn modelId="{4B586D1C-0049-4DCA-A2DB-CF437EE6ECD0}" type="presOf" srcId="{9869C2D2-4E25-4DA6-AB38-BCD5FC7DDB66}" destId="{C92F7C32-2349-4378-AE02-7C2BF99E364C}" srcOrd="0" destOrd="0" presId="urn:microsoft.com/office/officeart/2005/8/layout/chevron2"/>
    <dgm:cxn modelId="{E96537B2-DB79-4AE1-A841-6DB2916CEEF3}" type="presOf" srcId="{5E2C1584-2713-4445-B471-85346A450CF2}" destId="{B9A1B6F4-2769-410E-A62C-9C8F12EE90E7}" srcOrd="0" destOrd="0" presId="urn:microsoft.com/office/officeart/2005/8/layout/chevron2"/>
    <dgm:cxn modelId="{DF94B9D3-71BE-45AB-AE59-D7EE66D599FE}" srcId="{68C62A39-C8F9-495C-B474-403898CF5106}" destId="{A86AD711-AA96-450D-8862-78846D293027}" srcOrd="0" destOrd="0" parTransId="{6659116B-9946-4E69-B491-E207E8387777}" sibTransId="{0EBF8EA8-FDB0-4A75-8A52-29F8F4B4FE92}"/>
    <dgm:cxn modelId="{4554AB45-EB9E-4802-8B61-7C2871ED4EF0}" type="presOf" srcId="{AE693566-6969-4941-95C2-F6BD00E82CFF}" destId="{E8336D18-8A06-4A1D-9302-26BE0AFF52FB}" srcOrd="0" destOrd="0" presId="urn:microsoft.com/office/officeart/2005/8/layout/chevron2"/>
    <dgm:cxn modelId="{8B802F92-DA95-4AD6-B799-73A5C832FF0B}" type="presOf" srcId="{E233825A-7B9C-4E1A-B348-28CF7DAF6163}" destId="{F2016F92-3900-456B-9E8C-217727D7172A}" srcOrd="0" destOrd="0" presId="urn:microsoft.com/office/officeart/2005/8/layout/chevron2"/>
    <dgm:cxn modelId="{68C95AB4-ED28-49F5-A26D-B5D4D42414F7}" type="presOf" srcId="{34FFC5A2-25E9-4310-B6A3-855822D18E78}" destId="{02380C26-7031-4872-B948-B3B139C48B93}" srcOrd="0" destOrd="0" presId="urn:microsoft.com/office/officeart/2005/8/layout/chevron2"/>
    <dgm:cxn modelId="{C841261D-A382-4970-9089-D8B4E1E1C25C}" type="presOf" srcId="{A09467E6-BFBC-44B2-B5E2-9C300E7979EC}" destId="{02380C26-7031-4872-B948-B3B139C48B93}" srcOrd="0" destOrd="1" presId="urn:microsoft.com/office/officeart/2005/8/layout/chevron2"/>
    <dgm:cxn modelId="{43C45E73-BE03-4965-A9D1-9EC01169D2F8}" type="presOf" srcId="{AF909F81-F1FE-4859-B919-88A3691646BF}" destId="{93F2940B-9E75-4E2F-8A9C-0CABB6254C4F}" srcOrd="0" destOrd="1" presId="urn:microsoft.com/office/officeart/2005/8/layout/chevron2"/>
    <dgm:cxn modelId="{8AEF55EA-F6C8-44CD-B903-98C5F5232068}" srcId="{F5564926-B278-45DD-BEFF-36185A5552CA}" destId="{E233825A-7B9C-4E1A-B348-28CF7DAF6163}" srcOrd="0" destOrd="0" parTransId="{02F451CF-3F4B-4C77-87FF-4E6B51FFA92D}" sibTransId="{31320BD0-8C3C-40D1-B8F4-F0338EB12C55}"/>
    <dgm:cxn modelId="{4BA342B0-55CD-4CDD-ACD0-57680178E7AF}" srcId="{78FD63A2-5728-4881-B2A8-3C5FC1E8C1D3}" destId="{244B5EFE-8946-4D3C-B744-4526995A3F07}" srcOrd="1" destOrd="0" parTransId="{F4A90FBF-C7CA-4A88-8268-BEBD992FBC11}" sibTransId="{E08D9056-FBDE-4100-B5D5-34A409066589}"/>
    <dgm:cxn modelId="{6E2FBCD0-3E12-4853-A77C-CB3BC953D16F}" srcId="{F5564926-B278-45DD-BEFF-36185A5552CA}" destId="{EE745945-886D-4D89-B55D-8BE40C2E0B32}" srcOrd="1" destOrd="0" parTransId="{4D040E3B-885A-4BC7-90B4-FC2A50CAFF84}" sibTransId="{0847A4DB-32B0-4595-B434-3DE11AF3A7CB}"/>
    <dgm:cxn modelId="{72E8C8FE-FD26-41E9-A3AA-FC2CB2E58257}" type="presOf" srcId="{1578B200-E658-41BB-B563-0AB4251293FB}" destId="{7DE07682-9E18-43D3-ABEB-811A00D60F61}" srcOrd="0" destOrd="0" presId="urn:microsoft.com/office/officeart/2005/8/layout/chevron2"/>
    <dgm:cxn modelId="{757133F1-E56C-4635-A006-5EC2355F6084}" type="presOf" srcId="{2E9D7D55-72CE-4202-BA0B-2F529AA23F42}" destId="{C92F7C32-2349-4378-AE02-7C2BF99E364C}" srcOrd="0" destOrd="1" presId="urn:microsoft.com/office/officeart/2005/8/layout/chevron2"/>
    <dgm:cxn modelId="{6E5CEDA7-00A6-461C-BAE5-1D972DDD48C2}" srcId="{5E2C1584-2713-4445-B471-85346A450CF2}" destId="{2E9D7D55-72CE-4202-BA0B-2F529AA23F42}" srcOrd="1" destOrd="0" parTransId="{0B10691C-56DC-444B-961E-269AC5D13279}" sibTransId="{4BA9FDDB-A2FA-4D87-9602-8AFDB21D9697}"/>
    <dgm:cxn modelId="{F88C2841-E7C7-4FE9-926A-D531A3C19F5A}" srcId="{7EDD07E6-7605-4151-AD69-720B245F1130}" destId="{68C62A39-C8F9-495C-B474-403898CF5106}" srcOrd="3" destOrd="0" parTransId="{BE45D561-E354-467F-86AF-5CF57A5E3F31}" sibTransId="{A445683B-6AF9-4ADF-A301-6A2CEE935086}"/>
    <dgm:cxn modelId="{04B1914F-EFE6-4251-8C3A-39A8B2A9AA9B}" type="presOf" srcId="{E622FB13-C794-42A5-9171-FBC698433FF2}" destId="{93F2940B-9E75-4E2F-8A9C-0CABB6254C4F}" srcOrd="0" destOrd="2" presId="urn:microsoft.com/office/officeart/2005/8/layout/chevron2"/>
    <dgm:cxn modelId="{26F67FEE-5444-46AF-B1A8-7AAFFB4092C6}" srcId="{68C62A39-C8F9-495C-B474-403898CF5106}" destId="{E622FB13-C794-42A5-9171-FBC698433FF2}" srcOrd="2" destOrd="0" parTransId="{5D9183DA-C980-40D7-9B0B-856C3BB3ED14}" sibTransId="{C01699F7-A8E4-4E4C-89A4-5649279E272A}"/>
    <dgm:cxn modelId="{8A0E3B2E-EBED-45E1-8BAA-2C9099771BD0}" type="presOf" srcId="{A86AD711-AA96-450D-8862-78846D293027}" destId="{93F2940B-9E75-4E2F-8A9C-0CABB6254C4F}" srcOrd="0" destOrd="0" presId="urn:microsoft.com/office/officeart/2005/8/layout/chevron2"/>
    <dgm:cxn modelId="{9426845C-AB7F-461E-9602-D0831DDBFBD1}" srcId="{7EDD07E6-7605-4151-AD69-720B245F1130}" destId="{1578B200-E658-41BB-B563-0AB4251293FB}" srcOrd="2" destOrd="0" parTransId="{2CC1E971-70B9-4749-8FD9-7F512E29F262}" sibTransId="{67583D56-9B5C-4033-ABE2-63DEFF016E68}"/>
    <dgm:cxn modelId="{A8414DE0-094E-4EBE-B08A-C1FFF34AE9EB}" srcId="{7EDD07E6-7605-4151-AD69-720B245F1130}" destId="{5E2C1584-2713-4445-B471-85346A450CF2}" srcOrd="0" destOrd="0" parTransId="{6E2508F9-8A39-42DF-8B69-3F2743EB375B}" sibTransId="{F32FB73A-33BC-4AA5-8E22-C7FFF8AFA5DF}"/>
    <dgm:cxn modelId="{54BE7B74-716F-45F2-A21A-D6179C5B19EE}" type="presOf" srcId="{EE745945-886D-4D89-B55D-8BE40C2E0B32}" destId="{F2016F92-3900-456B-9E8C-217727D7172A}" srcOrd="0" destOrd="1" presId="urn:microsoft.com/office/officeart/2005/8/layout/chevron2"/>
    <dgm:cxn modelId="{769E8552-03B5-42C2-8998-3641A6B1E602}" srcId="{754A87B2-C129-4E09-B6AB-FDCF65A2305E}" destId="{34FFC5A2-25E9-4310-B6A3-855822D18E78}" srcOrd="0" destOrd="0" parTransId="{949773C1-8CDC-46A0-8AEE-DD5897578F79}" sibTransId="{AD1AE100-FADA-4962-A79D-925F7C5A7F06}"/>
    <dgm:cxn modelId="{25AA5615-7A58-4A15-A660-D14119C6A1B8}" srcId="{68C62A39-C8F9-495C-B474-403898CF5106}" destId="{AF909F81-F1FE-4859-B919-88A3691646BF}" srcOrd="1" destOrd="0" parTransId="{D8A3AD15-FDAB-4B67-A17F-822B5C9BED28}" sibTransId="{4DC56ADB-45DD-4674-9748-4A2EB0FEB86A}"/>
    <dgm:cxn modelId="{D044BE8E-2F9C-4C17-89E6-F7827D930F10}" srcId="{7EDD07E6-7605-4151-AD69-720B245F1130}" destId="{F5564926-B278-45DD-BEFF-36185A5552CA}" srcOrd="5" destOrd="0" parTransId="{52DB0A2A-7FAC-4593-9DED-4B73270EDAF2}" sibTransId="{B4FEE6E4-657A-4FA5-B481-D68887BDDD48}"/>
    <dgm:cxn modelId="{BB5F1ECF-CB72-4C47-9B51-E779FCDCF4A1}" srcId="{1578B200-E658-41BB-B563-0AB4251293FB}" destId="{96805BEC-3036-46F4-83E5-D0AE05E847E0}" srcOrd="0" destOrd="0" parTransId="{374654E2-4859-491D-82A0-2A0EC9C8B422}" sibTransId="{399F3571-E66C-4D58-A4FF-48EC76EE4833}"/>
    <dgm:cxn modelId="{AB5A6DF3-ED69-444B-B061-662DA12F985A}" type="presOf" srcId="{68C62A39-C8F9-495C-B474-403898CF5106}" destId="{88A4FD17-0A1E-459D-94C9-8DD446C26167}" srcOrd="0" destOrd="0" presId="urn:microsoft.com/office/officeart/2005/8/layout/chevron2"/>
    <dgm:cxn modelId="{ABC47DE9-0250-4B8D-8EC3-3273A7ECDB00}" srcId="{7EDD07E6-7605-4151-AD69-720B245F1130}" destId="{754A87B2-C129-4E09-B6AB-FDCF65A2305E}" srcOrd="4" destOrd="0" parTransId="{7357655E-2EFF-40BA-B149-7661BB1BE350}" sibTransId="{ABEE3E77-63EB-4E97-82B5-7E3405133008}"/>
    <dgm:cxn modelId="{2EB347C9-2DBF-44BD-9EFD-E3A7B09E66AD}" srcId="{754A87B2-C129-4E09-B6AB-FDCF65A2305E}" destId="{A09467E6-BFBC-44B2-B5E2-9C300E7979EC}" srcOrd="1" destOrd="0" parTransId="{8502E50D-1009-4CA7-B3B1-A490A37DF3E8}" sibTransId="{36657A4C-103F-474C-BEC8-57FC8F3A146A}"/>
    <dgm:cxn modelId="{F7FE8779-9E87-44D6-A2CE-B947AD48C48C}" type="presOf" srcId="{F5564926-B278-45DD-BEFF-36185A5552CA}" destId="{E5940869-E5AB-401C-9004-799CB20D6B64}" srcOrd="0" destOrd="0" presId="urn:microsoft.com/office/officeart/2005/8/layout/chevron2"/>
    <dgm:cxn modelId="{EF1B19C2-DED2-4542-A80A-428673B94A43}" type="presParOf" srcId="{85831083-C70F-4148-8F34-5B17E799A189}" destId="{3B65C149-909F-4ACE-B28E-B78378649D53}" srcOrd="0" destOrd="0" presId="urn:microsoft.com/office/officeart/2005/8/layout/chevron2"/>
    <dgm:cxn modelId="{918047AB-742F-4257-8AD6-EE658FDA9090}" type="presParOf" srcId="{3B65C149-909F-4ACE-B28E-B78378649D53}" destId="{B9A1B6F4-2769-410E-A62C-9C8F12EE90E7}" srcOrd="0" destOrd="0" presId="urn:microsoft.com/office/officeart/2005/8/layout/chevron2"/>
    <dgm:cxn modelId="{54380AFF-A531-4F1A-A94C-B7562D1635A5}" type="presParOf" srcId="{3B65C149-909F-4ACE-B28E-B78378649D53}" destId="{C92F7C32-2349-4378-AE02-7C2BF99E364C}" srcOrd="1" destOrd="0" presId="urn:microsoft.com/office/officeart/2005/8/layout/chevron2"/>
    <dgm:cxn modelId="{B822B64C-06E5-4AA5-A9D6-DFF6FE356FA6}" type="presParOf" srcId="{85831083-C70F-4148-8F34-5B17E799A189}" destId="{EE5FC97D-7D4A-455C-849D-369E6D16743E}" srcOrd="1" destOrd="0" presId="urn:microsoft.com/office/officeart/2005/8/layout/chevron2"/>
    <dgm:cxn modelId="{25B6A4A8-FD71-46A3-93C1-3DBB2CFFB4DC}" type="presParOf" srcId="{85831083-C70F-4148-8F34-5B17E799A189}" destId="{B4704A35-0330-4B93-AB77-CA69DD95E73D}" srcOrd="2" destOrd="0" presId="urn:microsoft.com/office/officeart/2005/8/layout/chevron2"/>
    <dgm:cxn modelId="{8035134A-D7E8-46A2-8130-8650898EF207}" type="presParOf" srcId="{B4704A35-0330-4B93-AB77-CA69DD95E73D}" destId="{B5AC3E72-AD74-4585-BA95-20A1786D41F5}" srcOrd="0" destOrd="0" presId="urn:microsoft.com/office/officeart/2005/8/layout/chevron2"/>
    <dgm:cxn modelId="{68E6B483-5446-4D01-BCCB-DE37FCA8C12F}" type="presParOf" srcId="{B4704A35-0330-4B93-AB77-CA69DD95E73D}" destId="{E8336D18-8A06-4A1D-9302-26BE0AFF52FB}" srcOrd="1" destOrd="0" presId="urn:microsoft.com/office/officeart/2005/8/layout/chevron2"/>
    <dgm:cxn modelId="{7353FF2E-CC8B-485A-847B-3371F90292E6}" type="presParOf" srcId="{85831083-C70F-4148-8F34-5B17E799A189}" destId="{CC6C612B-275F-42E9-BF3E-981E7782032C}" srcOrd="3" destOrd="0" presId="urn:microsoft.com/office/officeart/2005/8/layout/chevron2"/>
    <dgm:cxn modelId="{0484EDC0-2DAD-44B2-92B6-624FA9E86EA3}" type="presParOf" srcId="{85831083-C70F-4148-8F34-5B17E799A189}" destId="{49CAA8E0-2D11-461D-BA92-74756FF73AB1}" srcOrd="4" destOrd="0" presId="urn:microsoft.com/office/officeart/2005/8/layout/chevron2"/>
    <dgm:cxn modelId="{E013BD14-FDEE-41A8-9761-3A6CF7B3A5FF}" type="presParOf" srcId="{49CAA8E0-2D11-461D-BA92-74756FF73AB1}" destId="{7DE07682-9E18-43D3-ABEB-811A00D60F61}" srcOrd="0" destOrd="0" presId="urn:microsoft.com/office/officeart/2005/8/layout/chevron2"/>
    <dgm:cxn modelId="{EAD77D81-6A03-4F67-AB12-FFBB4349981C}" type="presParOf" srcId="{49CAA8E0-2D11-461D-BA92-74756FF73AB1}" destId="{3CC99E00-8C73-4CE4-8825-0A1ACE217798}" srcOrd="1" destOrd="0" presId="urn:microsoft.com/office/officeart/2005/8/layout/chevron2"/>
    <dgm:cxn modelId="{E6C7B5A6-3145-4841-A273-40D5CFBBFC08}" type="presParOf" srcId="{85831083-C70F-4148-8F34-5B17E799A189}" destId="{1C6400E1-E191-4200-852D-C7FCA474926E}" srcOrd="5" destOrd="0" presId="urn:microsoft.com/office/officeart/2005/8/layout/chevron2"/>
    <dgm:cxn modelId="{D0780528-66D4-4A4D-A7C8-6082E7B3C0BD}" type="presParOf" srcId="{85831083-C70F-4148-8F34-5B17E799A189}" destId="{829CDF58-1948-48A9-BD0F-4224A5540422}" srcOrd="6" destOrd="0" presId="urn:microsoft.com/office/officeart/2005/8/layout/chevron2"/>
    <dgm:cxn modelId="{550193ED-677D-49C6-9DDB-A5C0D7E456DC}" type="presParOf" srcId="{829CDF58-1948-48A9-BD0F-4224A5540422}" destId="{88A4FD17-0A1E-459D-94C9-8DD446C26167}" srcOrd="0" destOrd="0" presId="urn:microsoft.com/office/officeart/2005/8/layout/chevron2"/>
    <dgm:cxn modelId="{87A68716-1BE0-4733-855B-794DFF6D2E3C}" type="presParOf" srcId="{829CDF58-1948-48A9-BD0F-4224A5540422}" destId="{93F2940B-9E75-4E2F-8A9C-0CABB6254C4F}" srcOrd="1" destOrd="0" presId="urn:microsoft.com/office/officeart/2005/8/layout/chevron2"/>
    <dgm:cxn modelId="{7C3F97B0-8C25-4BE1-A5BB-DD389B020BBB}" type="presParOf" srcId="{85831083-C70F-4148-8F34-5B17E799A189}" destId="{FDC3BA66-4341-42A6-83B0-CA29676C7820}" srcOrd="7" destOrd="0" presId="urn:microsoft.com/office/officeart/2005/8/layout/chevron2"/>
    <dgm:cxn modelId="{C9BA7CE6-6CB2-42A4-84F7-4B4E519B330E}" type="presParOf" srcId="{85831083-C70F-4148-8F34-5B17E799A189}" destId="{4BEF9C9A-6015-4442-BB4A-8A329E823C3D}" srcOrd="8" destOrd="0" presId="urn:microsoft.com/office/officeart/2005/8/layout/chevron2"/>
    <dgm:cxn modelId="{71D01E5F-1A8A-48BA-B3E3-D7D9AA653ADA}" type="presParOf" srcId="{4BEF9C9A-6015-4442-BB4A-8A329E823C3D}" destId="{B62CF233-C6DE-43AA-8FED-D414E4C5851B}" srcOrd="0" destOrd="0" presId="urn:microsoft.com/office/officeart/2005/8/layout/chevron2"/>
    <dgm:cxn modelId="{158FE5F5-4324-4E98-BCBD-5D4F46EC7C0A}" type="presParOf" srcId="{4BEF9C9A-6015-4442-BB4A-8A329E823C3D}" destId="{02380C26-7031-4872-B948-B3B139C48B93}" srcOrd="1" destOrd="0" presId="urn:microsoft.com/office/officeart/2005/8/layout/chevron2"/>
    <dgm:cxn modelId="{B9E4927D-8FAE-42A1-8EE6-FCB862F062A3}" type="presParOf" srcId="{85831083-C70F-4148-8F34-5B17E799A189}" destId="{5DD0EE49-EDC4-46A9-A312-10E7511336F3}" srcOrd="9" destOrd="0" presId="urn:microsoft.com/office/officeart/2005/8/layout/chevron2"/>
    <dgm:cxn modelId="{B96DEFA4-739F-4404-94C3-C550FD69F921}" type="presParOf" srcId="{85831083-C70F-4148-8F34-5B17E799A189}" destId="{18F5EAE9-2558-4488-BF15-D351E0AF389A}" srcOrd="10" destOrd="0" presId="urn:microsoft.com/office/officeart/2005/8/layout/chevron2"/>
    <dgm:cxn modelId="{A5BB862A-E65A-4F72-A100-A4610292B0DD}" type="presParOf" srcId="{18F5EAE9-2558-4488-BF15-D351E0AF389A}" destId="{E5940869-E5AB-401C-9004-799CB20D6B64}" srcOrd="0" destOrd="0" presId="urn:microsoft.com/office/officeart/2005/8/layout/chevron2"/>
    <dgm:cxn modelId="{E172B239-5458-4F29-98A6-04DE3354C28A}" type="presParOf" srcId="{18F5EAE9-2558-4488-BF15-D351E0AF389A}" destId="{F2016F92-3900-456B-9E8C-217727D7172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ABE654-E5CC-4958-BCFF-FD111690A665}">
      <dsp:nvSpPr>
        <dsp:cNvPr id="0" name=""/>
        <dsp:cNvSpPr/>
      </dsp:nvSpPr>
      <dsp:spPr>
        <a:xfrm>
          <a:off x="2970080" y="923"/>
          <a:ext cx="2074498" cy="1348424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 smtClean="0"/>
            <a:t>超级</a:t>
          </a:r>
          <a:r>
            <a:rPr lang="en-US" altLang="zh-CN" sz="2400" kern="1200" dirty="0" smtClean="0"/>
            <a:t>APP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使用方</a:t>
          </a:r>
          <a:endParaRPr lang="zh-CN" altLang="en-US" sz="1800" kern="1200" dirty="0"/>
        </a:p>
      </dsp:txBody>
      <dsp:txXfrm>
        <a:off x="3035905" y="66748"/>
        <a:ext cx="1942848" cy="1216774"/>
      </dsp:txXfrm>
    </dsp:sp>
    <dsp:sp modelId="{2FC56827-FD6F-48A0-B51E-9FE59FC5DFB2}">
      <dsp:nvSpPr>
        <dsp:cNvPr id="0" name=""/>
        <dsp:cNvSpPr/>
      </dsp:nvSpPr>
      <dsp:spPr>
        <a:xfrm>
          <a:off x="1837362" y="669782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3396776" y="328485"/>
              </a:moveTo>
              <a:arcTo wR="2231413" hR="2231413" stAng="18089011" swAng="1016021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1832AF-972D-4495-9088-98C77B8834D5}">
      <dsp:nvSpPr>
        <dsp:cNvPr id="0" name=""/>
        <dsp:cNvSpPr/>
      </dsp:nvSpPr>
      <dsp:spPr>
        <a:xfrm>
          <a:off x="5081934" y="1588621"/>
          <a:ext cx="2334889" cy="1646560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超级智点</a:t>
          </a:r>
          <a:r>
            <a:rPr lang="en-US" altLang="zh-CN" sz="2000" kern="1200" smtClean="0"/>
            <a:t>/</a:t>
          </a:r>
          <a:r>
            <a:rPr lang="zh-CN" altLang="en-US" sz="2000" kern="1200" smtClean="0"/>
            <a:t>网关</a:t>
          </a: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/>
            <a:t>JOS</a:t>
          </a:r>
          <a:r>
            <a:rPr lang="zh-CN" altLang="en-US" sz="2000" kern="1200" dirty="0" smtClean="0"/>
            <a:t>平台</a:t>
          </a:r>
          <a:endParaRPr lang="zh-CN" altLang="en-US" sz="2000" kern="1200" dirty="0"/>
        </a:p>
      </dsp:txBody>
      <dsp:txXfrm>
        <a:off x="5162312" y="1668999"/>
        <a:ext cx="2174133" cy="1485804"/>
      </dsp:txXfrm>
    </dsp:sp>
    <dsp:sp modelId="{A774B7FE-EB5B-41C1-87F2-E431AB309E24}">
      <dsp:nvSpPr>
        <dsp:cNvPr id="0" name=""/>
        <dsp:cNvSpPr/>
      </dsp:nvSpPr>
      <dsp:spPr>
        <a:xfrm>
          <a:off x="1239052" y="316518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4236908" y="3209776"/>
              </a:moveTo>
              <a:arcTo wR="2231413" hR="2231413" stAng="1560301" swAng="1505034"/>
            </a:path>
          </a:pathLst>
        </a:custGeom>
        <a:noFill/>
        <a:ln w="9525" cap="flat" cmpd="sng" algn="ctr">
          <a:solidFill>
            <a:schemeClr val="accent4">
              <a:hueOff val="-1488257"/>
              <a:satOff val="8966"/>
              <a:lumOff val="719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41B54E-A197-4B8A-8117-1C7A14AEAED8}">
      <dsp:nvSpPr>
        <dsp:cNvPr id="0" name=""/>
        <dsp:cNvSpPr/>
      </dsp:nvSpPr>
      <dsp:spPr>
        <a:xfrm>
          <a:off x="285100" y="4463745"/>
          <a:ext cx="7584450" cy="1348424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kern="1200" dirty="0"/>
        </a:p>
      </dsp:txBody>
      <dsp:txXfrm>
        <a:off x="350925" y="4529570"/>
        <a:ext cx="7452800" cy="1216774"/>
      </dsp:txXfrm>
    </dsp:sp>
    <dsp:sp modelId="{8BD773E2-CBC8-4A1A-A72A-7BBDA83C25FA}">
      <dsp:nvSpPr>
        <dsp:cNvPr id="0" name=""/>
        <dsp:cNvSpPr/>
      </dsp:nvSpPr>
      <dsp:spPr>
        <a:xfrm>
          <a:off x="2380733" y="288517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871167" y="4000293"/>
              </a:moveTo>
              <a:arcTo wR="2231413" hR="2231413" stAng="7653588" swAng="1521332"/>
            </a:path>
          </a:pathLst>
        </a:custGeom>
        <a:noFill/>
        <a:ln w="9525" cap="flat" cmpd="sng" algn="ctr">
          <a:solidFill>
            <a:schemeClr val="accent4">
              <a:hueOff val="-2976513"/>
              <a:satOff val="17933"/>
              <a:lumOff val="1437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379221-0C86-4B18-BA1D-0041EBA6EEC9}">
      <dsp:nvSpPr>
        <dsp:cNvPr id="0" name=""/>
        <dsp:cNvSpPr/>
      </dsp:nvSpPr>
      <dsp:spPr>
        <a:xfrm>
          <a:off x="673243" y="1588622"/>
          <a:ext cx="2279085" cy="1655446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/>
            <a:t>京东智能芯片硬件</a:t>
          </a:r>
          <a:r>
            <a:rPr lang="en-US" altLang="zh-CN" sz="1200" kern="1200" dirty="0" smtClean="0"/>
            <a:t>…</a:t>
          </a:r>
          <a:endParaRPr lang="zh-CN" altLang="en-US" sz="1200" kern="1200" dirty="0"/>
        </a:p>
      </dsp:txBody>
      <dsp:txXfrm>
        <a:off x="754055" y="1669434"/>
        <a:ext cx="2117461" cy="1493822"/>
      </dsp:txXfrm>
    </dsp:sp>
    <dsp:sp modelId="{2A9A4914-E73F-4A93-892C-4E820444E5F1}">
      <dsp:nvSpPr>
        <dsp:cNvPr id="0" name=""/>
        <dsp:cNvSpPr/>
      </dsp:nvSpPr>
      <dsp:spPr>
        <a:xfrm>
          <a:off x="1673347" y="762773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632664" y="674747"/>
              </a:moveTo>
              <a:arcTo wR="2231413" hR="2231413" stAng="13454155" swAng="948439"/>
            </a:path>
          </a:pathLst>
        </a:custGeom>
        <a:noFill/>
        <a:ln w="9525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22CB71-A233-4983-B315-4075CF4BAA66}">
      <dsp:nvSpPr>
        <dsp:cNvPr id="0" name=""/>
        <dsp:cNvSpPr/>
      </dsp:nvSpPr>
      <dsp:spPr>
        <a:xfrm>
          <a:off x="519609" y="352195"/>
          <a:ext cx="4293870" cy="4293870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3900" kern="1200" dirty="0" smtClean="0"/>
            <a:t>offer repost</a:t>
          </a:r>
          <a:endParaRPr lang="zh-CN" altLang="en-US" sz="3900" kern="1200" dirty="0"/>
        </a:p>
      </dsp:txBody>
      <dsp:txXfrm>
        <a:off x="2854145" y="1144516"/>
        <a:ext cx="1456848" cy="1431290"/>
      </dsp:txXfrm>
    </dsp:sp>
    <dsp:sp modelId="{3CC2F384-8267-4EBE-89FA-D8B9E7A73E13}">
      <dsp:nvSpPr>
        <dsp:cNvPr id="0" name=""/>
        <dsp:cNvSpPr/>
      </dsp:nvSpPr>
      <dsp:spPr>
        <a:xfrm>
          <a:off x="298270" y="479989"/>
          <a:ext cx="4293870" cy="4293870"/>
        </a:xfrm>
        <a:prstGeom prst="pie">
          <a:avLst>
            <a:gd name="adj1" fmla="val 1800000"/>
            <a:gd name="adj2" fmla="val 900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900" b="0" i="0" kern="1200" dirty="0" smtClean="0"/>
            <a:t>Data mining</a:t>
          </a:r>
          <a:endParaRPr lang="zh-CN" altLang="en-US" sz="3900" kern="1200" dirty="0"/>
        </a:p>
      </dsp:txBody>
      <dsp:txXfrm>
        <a:off x="1473973" y="3189216"/>
        <a:ext cx="1942465" cy="1329055"/>
      </dsp:txXfrm>
    </dsp:sp>
    <dsp:sp modelId="{6F23E53E-F80F-479D-AEEE-0406C533B364}">
      <dsp:nvSpPr>
        <dsp:cNvPr id="0" name=""/>
        <dsp:cNvSpPr/>
      </dsp:nvSpPr>
      <dsp:spPr>
        <a:xfrm>
          <a:off x="298270" y="479989"/>
          <a:ext cx="4293870" cy="4293870"/>
        </a:xfrm>
        <a:prstGeom prst="pie">
          <a:avLst>
            <a:gd name="adj1" fmla="val 9000000"/>
            <a:gd name="adj2" fmla="val 1620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3900" kern="1200" dirty="0" smtClean="0"/>
            <a:t>Data</a:t>
          </a:r>
        </a:p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3900" kern="1200" dirty="0" smtClean="0"/>
            <a:t>Center </a:t>
          </a:r>
          <a:endParaRPr lang="zh-CN" altLang="en-US" sz="3900" kern="1200" dirty="0"/>
        </a:p>
      </dsp:txBody>
      <dsp:txXfrm>
        <a:off x="758328" y="1323428"/>
        <a:ext cx="1456848" cy="143129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AFB07C-CA93-4C5F-A45D-BA28904C5907}">
      <dsp:nvSpPr>
        <dsp:cNvPr id="0" name=""/>
        <dsp:cNvSpPr/>
      </dsp:nvSpPr>
      <dsp:spPr>
        <a:xfrm>
          <a:off x="383381" y="0"/>
          <a:ext cx="4344987" cy="50546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63B2AF-4CE8-45AF-896C-3D32C368D634}">
      <dsp:nvSpPr>
        <dsp:cNvPr id="0" name=""/>
        <dsp:cNvSpPr/>
      </dsp:nvSpPr>
      <dsp:spPr>
        <a:xfrm>
          <a:off x="2589" y="1516380"/>
          <a:ext cx="1639291" cy="2021840"/>
        </a:xfrm>
        <a:prstGeom prst="round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700" kern="1200" dirty="0" smtClean="0"/>
            <a:t>业务系统</a:t>
          </a:r>
          <a:r>
            <a:rPr lang="en-US" altLang="zh-CN" sz="3700" kern="1200" dirty="0" smtClean="0"/>
            <a:t>1</a:t>
          </a:r>
          <a:endParaRPr lang="zh-CN" altLang="en-US" sz="3700" kern="1200" dirty="0"/>
        </a:p>
      </dsp:txBody>
      <dsp:txXfrm>
        <a:off x="82613" y="1596404"/>
        <a:ext cx="1479243" cy="1861792"/>
      </dsp:txXfrm>
    </dsp:sp>
    <dsp:sp modelId="{09DDE54B-0CB7-48AA-B62F-13605259E16E}">
      <dsp:nvSpPr>
        <dsp:cNvPr id="0" name=""/>
        <dsp:cNvSpPr/>
      </dsp:nvSpPr>
      <dsp:spPr>
        <a:xfrm>
          <a:off x="1736229" y="1516380"/>
          <a:ext cx="1639291" cy="2021840"/>
        </a:xfrm>
        <a:prstGeom prst="round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700" kern="1200" dirty="0" smtClean="0"/>
            <a:t>业务系统</a:t>
          </a:r>
          <a:r>
            <a:rPr lang="en-US" altLang="zh-CN" sz="3700" kern="1200" dirty="0" smtClean="0"/>
            <a:t>2</a:t>
          </a:r>
          <a:endParaRPr lang="zh-CN" altLang="en-US" sz="3700" kern="1200" dirty="0"/>
        </a:p>
      </dsp:txBody>
      <dsp:txXfrm>
        <a:off x="1816253" y="1596404"/>
        <a:ext cx="1479243" cy="1861792"/>
      </dsp:txXfrm>
    </dsp:sp>
    <dsp:sp modelId="{D32A8E6C-33CC-426B-8B90-98F332698F10}">
      <dsp:nvSpPr>
        <dsp:cNvPr id="0" name=""/>
        <dsp:cNvSpPr/>
      </dsp:nvSpPr>
      <dsp:spPr>
        <a:xfrm>
          <a:off x="3469868" y="1516380"/>
          <a:ext cx="1639291" cy="202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700" kern="1200" dirty="0" smtClean="0"/>
            <a:t>业务系统</a:t>
          </a:r>
          <a:r>
            <a:rPr lang="en-US" altLang="zh-CN" sz="3700" kern="1200" dirty="0" smtClean="0"/>
            <a:t>3</a:t>
          </a:r>
          <a:endParaRPr lang="zh-CN" altLang="en-US" sz="3700" kern="1200" dirty="0"/>
        </a:p>
      </dsp:txBody>
      <dsp:txXfrm>
        <a:off x="3549892" y="1596404"/>
        <a:ext cx="1479243" cy="18617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34F44E-1CE8-4F83-A65E-2159A0F3F02A}">
      <dsp:nvSpPr>
        <dsp:cNvPr id="0" name=""/>
        <dsp:cNvSpPr/>
      </dsp:nvSpPr>
      <dsp:spPr>
        <a:xfrm>
          <a:off x="2039980" y="1404123"/>
          <a:ext cx="95758" cy="3342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4237"/>
              </a:lnTo>
              <a:lnTo>
                <a:pt x="95758" y="33423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8DC9C9-6FE9-46CD-AC3D-3759AA0E076E}">
      <dsp:nvSpPr>
        <dsp:cNvPr id="0" name=""/>
        <dsp:cNvSpPr/>
      </dsp:nvSpPr>
      <dsp:spPr>
        <a:xfrm>
          <a:off x="2039980" y="1404123"/>
          <a:ext cx="95770" cy="9031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3100"/>
              </a:lnTo>
              <a:lnTo>
                <a:pt x="95770" y="90310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FB492C-6526-4DAA-B90D-8B5D39D52C5F}">
      <dsp:nvSpPr>
        <dsp:cNvPr id="0" name=""/>
        <dsp:cNvSpPr/>
      </dsp:nvSpPr>
      <dsp:spPr>
        <a:xfrm>
          <a:off x="2039980" y="1404123"/>
          <a:ext cx="1443300" cy="10973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72140"/>
              </a:lnTo>
              <a:lnTo>
                <a:pt x="1443300" y="972140"/>
              </a:lnTo>
              <a:lnTo>
                <a:pt x="1443300" y="109738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9B76A6-BDA2-4B10-9380-1756483D3A80}">
      <dsp:nvSpPr>
        <dsp:cNvPr id="0" name=""/>
        <dsp:cNvSpPr/>
      </dsp:nvSpPr>
      <dsp:spPr>
        <a:xfrm>
          <a:off x="1562855" y="3097914"/>
          <a:ext cx="178921" cy="5486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8692"/>
              </a:lnTo>
              <a:lnTo>
                <a:pt x="178921" y="54869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D455DD-7204-4EC1-8A86-9DD5450F07AC}">
      <dsp:nvSpPr>
        <dsp:cNvPr id="0" name=""/>
        <dsp:cNvSpPr/>
      </dsp:nvSpPr>
      <dsp:spPr>
        <a:xfrm>
          <a:off x="1994259" y="1404123"/>
          <a:ext cx="91440" cy="10973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09738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7C1686-D28E-4203-9010-36100A77DB8B}">
      <dsp:nvSpPr>
        <dsp:cNvPr id="0" name=""/>
        <dsp:cNvSpPr/>
      </dsp:nvSpPr>
      <dsp:spPr>
        <a:xfrm>
          <a:off x="596679" y="1404123"/>
          <a:ext cx="1443300" cy="1097385"/>
        </a:xfrm>
        <a:custGeom>
          <a:avLst/>
          <a:gdLst/>
          <a:ahLst/>
          <a:cxnLst/>
          <a:rect l="0" t="0" r="0" b="0"/>
          <a:pathLst>
            <a:path>
              <a:moveTo>
                <a:pt x="1443300" y="0"/>
              </a:moveTo>
              <a:lnTo>
                <a:pt x="1443300" y="972140"/>
              </a:lnTo>
              <a:lnTo>
                <a:pt x="0" y="972140"/>
              </a:lnTo>
              <a:lnTo>
                <a:pt x="0" y="109738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792C8B-7FB7-452A-BA6B-D4B14209E3F7}">
      <dsp:nvSpPr>
        <dsp:cNvPr id="0" name=""/>
        <dsp:cNvSpPr/>
      </dsp:nvSpPr>
      <dsp:spPr>
        <a:xfrm>
          <a:off x="1443574" y="807718"/>
          <a:ext cx="1192810" cy="596405"/>
        </a:xfrm>
        <a:prstGeom prst="rect">
          <a:avLst/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/>
            <a:t>使用方</a:t>
          </a:r>
          <a:endParaRPr lang="zh-CN" altLang="en-US" sz="1700" kern="1200" dirty="0"/>
        </a:p>
      </dsp:txBody>
      <dsp:txXfrm>
        <a:off x="1443574" y="807718"/>
        <a:ext cx="1192810" cy="596405"/>
      </dsp:txXfrm>
    </dsp:sp>
    <dsp:sp modelId="{CD4C5DEE-C0FF-45E6-8BEF-F2603FDBBDA9}">
      <dsp:nvSpPr>
        <dsp:cNvPr id="0" name=""/>
        <dsp:cNvSpPr/>
      </dsp:nvSpPr>
      <dsp:spPr>
        <a:xfrm>
          <a:off x="273" y="2501509"/>
          <a:ext cx="1192810" cy="596405"/>
        </a:xfrm>
        <a:prstGeom prst="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MQ</a:t>
          </a:r>
          <a:r>
            <a:rPr lang="zh-CN" altLang="en-US" sz="1700" kern="1200" dirty="0" smtClean="0"/>
            <a:t>集群</a:t>
          </a:r>
          <a:endParaRPr lang="zh-CN" altLang="en-US" sz="1700" kern="1200" dirty="0"/>
        </a:p>
      </dsp:txBody>
      <dsp:txXfrm>
        <a:off x="273" y="2501509"/>
        <a:ext cx="1192810" cy="596405"/>
      </dsp:txXfrm>
    </dsp:sp>
    <dsp:sp modelId="{96BBB19F-F1B9-4354-8205-66D358B25B39}">
      <dsp:nvSpPr>
        <dsp:cNvPr id="0" name=""/>
        <dsp:cNvSpPr/>
      </dsp:nvSpPr>
      <dsp:spPr>
        <a:xfrm>
          <a:off x="1443574" y="2501509"/>
          <a:ext cx="1192810" cy="596405"/>
        </a:xfrm>
        <a:prstGeom prst="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UDP</a:t>
          </a:r>
          <a:r>
            <a:rPr lang="zh-CN" altLang="en-US" sz="1700" kern="1200" dirty="0" smtClean="0"/>
            <a:t>集群</a:t>
          </a:r>
          <a:endParaRPr lang="zh-CN" altLang="en-US" sz="1700" kern="1200" dirty="0"/>
        </a:p>
      </dsp:txBody>
      <dsp:txXfrm>
        <a:off x="1443574" y="2501509"/>
        <a:ext cx="1192810" cy="596405"/>
      </dsp:txXfrm>
    </dsp:sp>
    <dsp:sp modelId="{5738E9B7-C5CD-4667-9435-9575C2620D2E}">
      <dsp:nvSpPr>
        <dsp:cNvPr id="0" name=""/>
        <dsp:cNvSpPr/>
      </dsp:nvSpPr>
      <dsp:spPr>
        <a:xfrm>
          <a:off x="1741777" y="3348404"/>
          <a:ext cx="1192810" cy="5964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Gateway</a:t>
          </a:r>
          <a:endParaRPr lang="zh-CN" altLang="en-US" sz="1700" kern="1200" dirty="0"/>
        </a:p>
      </dsp:txBody>
      <dsp:txXfrm>
        <a:off x="1741777" y="3348404"/>
        <a:ext cx="1192810" cy="596405"/>
      </dsp:txXfrm>
    </dsp:sp>
    <dsp:sp modelId="{A5E8C851-C4C3-490C-A607-A633B62AA341}">
      <dsp:nvSpPr>
        <dsp:cNvPr id="0" name=""/>
        <dsp:cNvSpPr/>
      </dsp:nvSpPr>
      <dsp:spPr>
        <a:xfrm>
          <a:off x="2886875" y="2501509"/>
          <a:ext cx="1192810" cy="596405"/>
        </a:xfrm>
        <a:prstGeom prst="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Cache</a:t>
          </a:r>
          <a:r>
            <a:rPr lang="zh-CN" altLang="en-US" sz="1700" kern="1200" dirty="0" smtClean="0"/>
            <a:t>集群</a:t>
          </a:r>
          <a:endParaRPr lang="zh-CN" altLang="en-US" sz="1700" kern="1200" dirty="0"/>
        </a:p>
      </dsp:txBody>
      <dsp:txXfrm>
        <a:off x="2886875" y="2501509"/>
        <a:ext cx="1192810" cy="596405"/>
      </dsp:txXfrm>
    </dsp:sp>
    <dsp:sp modelId="{9EC790DC-F03D-434F-A965-595B3AB95FB5}">
      <dsp:nvSpPr>
        <dsp:cNvPr id="0" name=""/>
        <dsp:cNvSpPr/>
      </dsp:nvSpPr>
      <dsp:spPr>
        <a:xfrm>
          <a:off x="2135750" y="2009021"/>
          <a:ext cx="1192810" cy="596405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err="1" smtClean="0"/>
            <a:t>LoadBalance</a:t>
          </a:r>
          <a:endParaRPr lang="zh-CN" altLang="en-US" sz="1700" kern="1200" dirty="0"/>
        </a:p>
      </dsp:txBody>
      <dsp:txXfrm>
        <a:off x="2135750" y="2009021"/>
        <a:ext cx="1192810" cy="596405"/>
      </dsp:txXfrm>
    </dsp:sp>
    <dsp:sp modelId="{D7BF240E-F2F6-4510-B2EC-C121B0F2E483}">
      <dsp:nvSpPr>
        <dsp:cNvPr id="0" name=""/>
        <dsp:cNvSpPr/>
      </dsp:nvSpPr>
      <dsp:spPr>
        <a:xfrm>
          <a:off x="2135738" y="1440158"/>
          <a:ext cx="1192810" cy="596405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F5/LVS</a:t>
          </a:r>
          <a:endParaRPr lang="zh-CN" altLang="en-US" sz="1700" kern="1200" dirty="0"/>
        </a:p>
      </dsp:txBody>
      <dsp:txXfrm>
        <a:off x="2135738" y="1440158"/>
        <a:ext cx="1192810" cy="59640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3222F6-AD52-4728-B5E8-39401D439612}">
      <dsp:nvSpPr>
        <dsp:cNvPr id="0" name=""/>
        <dsp:cNvSpPr/>
      </dsp:nvSpPr>
      <dsp:spPr>
        <a:xfrm>
          <a:off x="2352927" y="155"/>
          <a:ext cx="686516" cy="6865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用户需求分析</a:t>
          </a:r>
          <a:endParaRPr lang="zh-CN" altLang="en-US" sz="1600" kern="1200" dirty="0"/>
        </a:p>
      </dsp:txBody>
      <dsp:txXfrm>
        <a:off x="2352927" y="155"/>
        <a:ext cx="686516" cy="686516"/>
      </dsp:txXfrm>
    </dsp:sp>
    <dsp:sp modelId="{87E4819C-4BBE-4E82-8D9B-066DEDAE2FBD}">
      <dsp:nvSpPr>
        <dsp:cNvPr id="0" name=""/>
        <dsp:cNvSpPr/>
      </dsp:nvSpPr>
      <dsp:spPr>
        <a:xfrm>
          <a:off x="108353" y="63903"/>
          <a:ext cx="3823480" cy="3823480"/>
        </a:xfrm>
        <a:prstGeom prst="circularArrow">
          <a:avLst>
            <a:gd name="adj1" fmla="val 3501"/>
            <a:gd name="adj2" fmla="val 217112"/>
            <a:gd name="adj3" fmla="val 19268603"/>
            <a:gd name="adj4" fmla="val 18314285"/>
            <a:gd name="adj5" fmla="val 408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3022CC-CAE0-468C-A327-2E7840962F31}">
      <dsp:nvSpPr>
        <dsp:cNvPr id="0" name=""/>
        <dsp:cNvSpPr/>
      </dsp:nvSpPr>
      <dsp:spPr>
        <a:xfrm>
          <a:off x="3309066" y="956293"/>
          <a:ext cx="686516" cy="6865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产品需求分析</a:t>
          </a:r>
          <a:endParaRPr lang="zh-CN" altLang="en-US" sz="1600" kern="1200" dirty="0"/>
        </a:p>
      </dsp:txBody>
      <dsp:txXfrm>
        <a:off x="3309066" y="956293"/>
        <a:ext cx="686516" cy="686516"/>
      </dsp:txXfrm>
    </dsp:sp>
    <dsp:sp modelId="{A8E3213B-812A-4C52-9CB9-8E7A7049C185}">
      <dsp:nvSpPr>
        <dsp:cNvPr id="0" name=""/>
        <dsp:cNvSpPr/>
      </dsp:nvSpPr>
      <dsp:spPr>
        <a:xfrm>
          <a:off x="108353" y="63903"/>
          <a:ext cx="3823480" cy="3823480"/>
        </a:xfrm>
        <a:prstGeom prst="circularArrow">
          <a:avLst>
            <a:gd name="adj1" fmla="val 3501"/>
            <a:gd name="adj2" fmla="val 217112"/>
            <a:gd name="adj3" fmla="val 434424"/>
            <a:gd name="adj4" fmla="val 20948464"/>
            <a:gd name="adj5" fmla="val 408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C49D3B-24A4-4DC3-BB07-C83020E24CF7}">
      <dsp:nvSpPr>
        <dsp:cNvPr id="0" name=""/>
        <dsp:cNvSpPr/>
      </dsp:nvSpPr>
      <dsp:spPr>
        <a:xfrm>
          <a:off x="3309066" y="2308477"/>
          <a:ext cx="686516" cy="6865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架构与设计</a:t>
          </a:r>
          <a:endParaRPr lang="zh-CN" altLang="en-US" sz="1600" kern="1200" dirty="0"/>
        </a:p>
      </dsp:txBody>
      <dsp:txXfrm>
        <a:off x="3309066" y="2308477"/>
        <a:ext cx="686516" cy="686516"/>
      </dsp:txXfrm>
    </dsp:sp>
    <dsp:sp modelId="{D704F559-DDD5-44CD-8B9A-242CBDE96170}">
      <dsp:nvSpPr>
        <dsp:cNvPr id="0" name=""/>
        <dsp:cNvSpPr/>
      </dsp:nvSpPr>
      <dsp:spPr>
        <a:xfrm>
          <a:off x="108353" y="63903"/>
          <a:ext cx="3823480" cy="3823480"/>
        </a:xfrm>
        <a:prstGeom prst="circularArrow">
          <a:avLst>
            <a:gd name="adj1" fmla="val 3501"/>
            <a:gd name="adj2" fmla="val 217112"/>
            <a:gd name="adj3" fmla="val 3068603"/>
            <a:gd name="adj4" fmla="val 2114285"/>
            <a:gd name="adj5" fmla="val 408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742C9D-4901-4FD5-BAE4-B2BB7F17A82E}">
      <dsp:nvSpPr>
        <dsp:cNvPr id="0" name=""/>
        <dsp:cNvSpPr/>
      </dsp:nvSpPr>
      <dsp:spPr>
        <a:xfrm>
          <a:off x="2352927" y="3264616"/>
          <a:ext cx="686516" cy="6865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研发实施</a:t>
          </a:r>
          <a:endParaRPr lang="zh-CN" altLang="en-US" sz="1600" kern="1200" dirty="0"/>
        </a:p>
      </dsp:txBody>
      <dsp:txXfrm>
        <a:off x="2352927" y="3264616"/>
        <a:ext cx="686516" cy="686516"/>
      </dsp:txXfrm>
    </dsp:sp>
    <dsp:sp modelId="{02985A5F-CBEC-4029-9366-2118BDCF7125}">
      <dsp:nvSpPr>
        <dsp:cNvPr id="0" name=""/>
        <dsp:cNvSpPr/>
      </dsp:nvSpPr>
      <dsp:spPr>
        <a:xfrm>
          <a:off x="108353" y="63903"/>
          <a:ext cx="3823480" cy="3823480"/>
        </a:xfrm>
        <a:prstGeom prst="circularArrow">
          <a:avLst>
            <a:gd name="adj1" fmla="val 3501"/>
            <a:gd name="adj2" fmla="val 217112"/>
            <a:gd name="adj3" fmla="val 5834424"/>
            <a:gd name="adj4" fmla="val 4748464"/>
            <a:gd name="adj5" fmla="val 408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9986FF-E26B-475D-B01F-F8AB028553FE}">
      <dsp:nvSpPr>
        <dsp:cNvPr id="0" name=""/>
        <dsp:cNvSpPr/>
      </dsp:nvSpPr>
      <dsp:spPr>
        <a:xfrm>
          <a:off x="1000743" y="3264616"/>
          <a:ext cx="686516" cy="6865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质量测试</a:t>
          </a:r>
          <a:endParaRPr lang="zh-CN" altLang="en-US" sz="1600" kern="1200" dirty="0"/>
        </a:p>
      </dsp:txBody>
      <dsp:txXfrm>
        <a:off x="1000743" y="3264616"/>
        <a:ext cx="686516" cy="686516"/>
      </dsp:txXfrm>
    </dsp:sp>
    <dsp:sp modelId="{0A7F7B3A-DD2C-4247-916B-B94418930C01}">
      <dsp:nvSpPr>
        <dsp:cNvPr id="0" name=""/>
        <dsp:cNvSpPr/>
      </dsp:nvSpPr>
      <dsp:spPr>
        <a:xfrm>
          <a:off x="108353" y="63903"/>
          <a:ext cx="3823480" cy="3823480"/>
        </a:xfrm>
        <a:prstGeom prst="circularArrow">
          <a:avLst>
            <a:gd name="adj1" fmla="val 3501"/>
            <a:gd name="adj2" fmla="val 217112"/>
            <a:gd name="adj3" fmla="val 8468603"/>
            <a:gd name="adj4" fmla="val 7514285"/>
            <a:gd name="adj5" fmla="val 408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CF0A4C-1CCA-4739-959F-5951B5553F40}">
      <dsp:nvSpPr>
        <dsp:cNvPr id="0" name=""/>
        <dsp:cNvSpPr/>
      </dsp:nvSpPr>
      <dsp:spPr>
        <a:xfrm>
          <a:off x="44605" y="2308477"/>
          <a:ext cx="686516" cy="6865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上线运营</a:t>
          </a:r>
          <a:endParaRPr lang="zh-CN" altLang="en-US" sz="1600" kern="1200" dirty="0"/>
        </a:p>
      </dsp:txBody>
      <dsp:txXfrm>
        <a:off x="44605" y="2308477"/>
        <a:ext cx="686516" cy="686516"/>
      </dsp:txXfrm>
    </dsp:sp>
    <dsp:sp modelId="{B339914C-8AD0-481B-AFFA-2A7529F563C7}">
      <dsp:nvSpPr>
        <dsp:cNvPr id="0" name=""/>
        <dsp:cNvSpPr/>
      </dsp:nvSpPr>
      <dsp:spPr>
        <a:xfrm>
          <a:off x="108353" y="63903"/>
          <a:ext cx="3823480" cy="3823480"/>
        </a:xfrm>
        <a:prstGeom prst="circularArrow">
          <a:avLst>
            <a:gd name="adj1" fmla="val 3501"/>
            <a:gd name="adj2" fmla="val 217112"/>
            <a:gd name="adj3" fmla="val 11234424"/>
            <a:gd name="adj4" fmla="val 10148464"/>
            <a:gd name="adj5" fmla="val 408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8438C2-99D3-4C6D-9166-815A1F2B5521}">
      <dsp:nvSpPr>
        <dsp:cNvPr id="0" name=""/>
        <dsp:cNvSpPr/>
      </dsp:nvSpPr>
      <dsp:spPr>
        <a:xfrm>
          <a:off x="44605" y="956293"/>
          <a:ext cx="686516" cy="6865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追踪评估</a:t>
          </a:r>
          <a:endParaRPr lang="zh-CN" altLang="en-US" sz="1600" kern="1200" dirty="0"/>
        </a:p>
      </dsp:txBody>
      <dsp:txXfrm>
        <a:off x="44605" y="956293"/>
        <a:ext cx="686516" cy="686516"/>
      </dsp:txXfrm>
    </dsp:sp>
    <dsp:sp modelId="{77727E8B-A759-4D82-B27F-1E38D46F7172}">
      <dsp:nvSpPr>
        <dsp:cNvPr id="0" name=""/>
        <dsp:cNvSpPr/>
      </dsp:nvSpPr>
      <dsp:spPr>
        <a:xfrm>
          <a:off x="108353" y="63903"/>
          <a:ext cx="3823480" cy="3823480"/>
        </a:xfrm>
        <a:prstGeom prst="circularArrow">
          <a:avLst>
            <a:gd name="adj1" fmla="val 3501"/>
            <a:gd name="adj2" fmla="val 217112"/>
            <a:gd name="adj3" fmla="val 13868603"/>
            <a:gd name="adj4" fmla="val 12914285"/>
            <a:gd name="adj5" fmla="val 408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39E7AA-7EDC-4293-8350-C742017AB269}">
      <dsp:nvSpPr>
        <dsp:cNvPr id="0" name=""/>
        <dsp:cNvSpPr/>
      </dsp:nvSpPr>
      <dsp:spPr>
        <a:xfrm>
          <a:off x="1000743" y="155"/>
          <a:ext cx="686516" cy="6865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迭代优化</a:t>
          </a:r>
          <a:endParaRPr lang="zh-CN" altLang="en-US" sz="1600" kern="1200" dirty="0"/>
        </a:p>
      </dsp:txBody>
      <dsp:txXfrm>
        <a:off x="1000743" y="155"/>
        <a:ext cx="686516" cy="686516"/>
      </dsp:txXfrm>
    </dsp:sp>
    <dsp:sp modelId="{FD146727-7B24-4F7A-9A9B-DC75F64ECB37}">
      <dsp:nvSpPr>
        <dsp:cNvPr id="0" name=""/>
        <dsp:cNvSpPr/>
      </dsp:nvSpPr>
      <dsp:spPr>
        <a:xfrm>
          <a:off x="108353" y="63903"/>
          <a:ext cx="3823480" cy="3823480"/>
        </a:xfrm>
        <a:prstGeom prst="circularArrow">
          <a:avLst>
            <a:gd name="adj1" fmla="val 3501"/>
            <a:gd name="adj2" fmla="val 217112"/>
            <a:gd name="adj3" fmla="val 16634424"/>
            <a:gd name="adj4" fmla="val 15548464"/>
            <a:gd name="adj5" fmla="val 408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A1B6F4-2769-410E-A62C-9C8F12EE90E7}">
      <dsp:nvSpPr>
        <dsp:cNvPr id="0" name=""/>
        <dsp:cNvSpPr/>
      </dsp:nvSpPr>
      <dsp:spPr>
        <a:xfrm rot="5400000">
          <a:off x="-113958" y="116453"/>
          <a:ext cx="759723" cy="5318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700" kern="1200" dirty="0" smtClean="0"/>
            <a:t>用户需求分析</a:t>
          </a:r>
          <a:endParaRPr lang="zh-CN" altLang="en-US" sz="700" kern="1200" dirty="0"/>
        </a:p>
      </dsp:txBody>
      <dsp:txXfrm rot="-5400000">
        <a:off x="1" y="268397"/>
        <a:ext cx="531806" cy="227917"/>
      </dsp:txXfrm>
    </dsp:sp>
    <dsp:sp modelId="{C92F7C32-2349-4378-AE02-7C2BF99E364C}">
      <dsp:nvSpPr>
        <dsp:cNvPr id="0" name=""/>
        <dsp:cNvSpPr/>
      </dsp:nvSpPr>
      <dsp:spPr>
        <a:xfrm rot="5400000">
          <a:off x="2106716" y="-1572415"/>
          <a:ext cx="493820" cy="36436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商业策划</a:t>
          </a:r>
          <a:endParaRPr lang="zh-CN" alt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市场策划</a:t>
          </a:r>
          <a:endParaRPr lang="zh-CN" altLang="en-US" sz="800" kern="1200" dirty="0"/>
        </a:p>
      </dsp:txBody>
      <dsp:txXfrm rot="-5400000">
        <a:off x="531806" y="26601"/>
        <a:ext cx="3619534" cy="445608"/>
      </dsp:txXfrm>
    </dsp:sp>
    <dsp:sp modelId="{B5AC3E72-AD74-4585-BA95-20A1786D41F5}">
      <dsp:nvSpPr>
        <dsp:cNvPr id="0" name=""/>
        <dsp:cNvSpPr/>
      </dsp:nvSpPr>
      <dsp:spPr>
        <a:xfrm rot="5400000">
          <a:off x="-113958" y="775998"/>
          <a:ext cx="759723" cy="5318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700" kern="1200" dirty="0" smtClean="0"/>
            <a:t> </a:t>
          </a:r>
          <a:r>
            <a:rPr lang="zh-CN" altLang="en-US" sz="700" kern="1200" dirty="0" smtClean="0"/>
            <a:t>产品需求分析</a:t>
          </a:r>
          <a:endParaRPr lang="zh-CN" altLang="en-US" sz="700" kern="1200" dirty="0"/>
        </a:p>
      </dsp:txBody>
      <dsp:txXfrm rot="-5400000">
        <a:off x="1" y="927942"/>
        <a:ext cx="531806" cy="227917"/>
      </dsp:txXfrm>
    </dsp:sp>
    <dsp:sp modelId="{E8336D18-8A06-4A1D-9302-26BE0AFF52FB}">
      <dsp:nvSpPr>
        <dsp:cNvPr id="0" name=""/>
        <dsp:cNvSpPr/>
      </dsp:nvSpPr>
      <dsp:spPr>
        <a:xfrm rot="5400000">
          <a:off x="2106716" y="-912870"/>
          <a:ext cx="493820" cy="36436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产品设计</a:t>
          </a:r>
          <a:endParaRPr lang="zh-CN" alt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网站运营</a:t>
          </a:r>
          <a:endParaRPr lang="zh-CN" altLang="en-US" sz="800" kern="1200" dirty="0"/>
        </a:p>
      </dsp:txBody>
      <dsp:txXfrm rot="-5400000">
        <a:off x="531806" y="686146"/>
        <a:ext cx="3619534" cy="445608"/>
      </dsp:txXfrm>
    </dsp:sp>
    <dsp:sp modelId="{7DE07682-9E18-43D3-ABEB-811A00D60F61}">
      <dsp:nvSpPr>
        <dsp:cNvPr id="0" name=""/>
        <dsp:cNvSpPr/>
      </dsp:nvSpPr>
      <dsp:spPr>
        <a:xfrm rot="5400000">
          <a:off x="-113958" y="1435542"/>
          <a:ext cx="759723" cy="5318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700" kern="1200" dirty="0" smtClean="0"/>
            <a:t>架构与设计</a:t>
          </a:r>
          <a:endParaRPr lang="zh-CN" altLang="en-US" sz="700" kern="1200" dirty="0"/>
        </a:p>
      </dsp:txBody>
      <dsp:txXfrm rot="-5400000">
        <a:off x="1" y="1587486"/>
        <a:ext cx="531806" cy="227917"/>
      </dsp:txXfrm>
    </dsp:sp>
    <dsp:sp modelId="{3CC99E00-8C73-4CE4-8825-0A1ACE217798}">
      <dsp:nvSpPr>
        <dsp:cNvPr id="0" name=""/>
        <dsp:cNvSpPr/>
      </dsp:nvSpPr>
      <dsp:spPr>
        <a:xfrm rot="5400000">
          <a:off x="2106716" y="-253325"/>
          <a:ext cx="493820" cy="36436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架构师</a:t>
          </a:r>
          <a:endParaRPr lang="zh-CN" altLang="en-US" sz="800" kern="1200" dirty="0"/>
        </a:p>
      </dsp:txBody>
      <dsp:txXfrm rot="-5400000">
        <a:off x="531806" y="1345691"/>
        <a:ext cx="3619534" cy="445608"/>
      </dsp:txXfrm>
    </dsp:sp>
    <dsp:sp modelId="{88A4FD17-0A1E-459D-94C9-8DD446C26167}">
      <dsp:nvSpPr>
        <dsp:cNvPr id="0" name=""/>
        <dsp:cNvSpPr/>
      </dsp:nvSpPr>
      <dsp:spPr>
        <a:xfrm rot="5400000">
          <a:off x="-113958" y="2095087"/>
          <a:ext cx="759723" cy="5318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700" kern="1200" dirty="0" smtClean="0"/>
            <a:t>研发实施</a:t>
          </a:r>
          <a:endParaRPr lang="zh-CN" altLang="en-US" sz="700" kern="1200" dirty="0"/>
        </a:p>
      </dsp:txBody>
      <dsp:txXfrm rot="-5400000">
        <a:off x="1" y="2247031"/>
        <a:ext cx="531806" cy="227917"/>
      </dsp:txXfrm>
    </dsp:sp>
    <dsp:sp modelId="{93F2940B-9E75-4E2F-8A9C-0CABB6254C4F}">
      <dsp:nvSpPr>
        <dsp:cNvPr id="0" name=""/>
        <dsp:cNvSpPr/>
      </dsp:nvSpPr>
      <dsp:spPr>
        <a:xfrm rot="5400000">
          <a:off x="2106716" y="406219"/>
          <a:ext cx="493820" cy="36436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程序员</a:t>
          </a:r>
          <a:endParaRPr lang="zh-CN" alt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项目经理</a:t>
          </a:r>
          <a:endParaRPr lang="zh-CN" alt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用户体验</a:t>
          </a:r>
          <a:endParaRPr lang="zh-CN" altLang="en-US" sz="800" kern="1200" dirty="0"/>
        </a:p>
      </dsp:txBody>
      <dsp:txXfrm rot="-5400000">
        <a:off x="531806" y="2005235"/>
        <a:ext cx="3619534" cy="445608"/>
      </dsp:txXfrm>
    </dsp:sp>
    <dsp:sp modelId="{B62CF233-C6DE-43AA-8FED-D414E4C5851B}">
      <dsp:nvSpPr>
        <dsp:cNvPr id="0" name=""/>
        <dsp:cNvSpPr/>
      </dsp:nvSpPr>
      <dsp:spPr>
        <a:xfrm rot="5400000">
          <a:off x="-113958" y="2754632"/>
          <a:ext cx="759723" cy="5318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700" kern="1200" dirty="0" smtClean="0"/>
            <a:t>质量测试</a:t>
          </a:r>
          <a:endParaRPr lang="zh-CN" altLang="en-US" sz="700" kern="1200" dirty="0"/>
        </a:p>
      </dsp:txBody>
      <dsp:txXfrm rot="-5400000">
        <a:off x="1" y="2906576"/>
        <a:ext cx="531806" cy="227917"/>
      </dsp:txXfrm>
    </dsp:sp>
    <dsp:sp modelId="{02380C26-7031-4872-B948-B3B139C48B93}">
      <dsp:nvSpPr>
        <dsp:cNvPr id="0" name=""/>
        <dsp:cNvSpPr/>
      </dsp:nvSpPr>
      <dsp:spPr>
        <a:xfrm rot="5400000">
          <a:off x="2106716" y="1065763"/>
          <a:ext cx="493820" cy="36436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测试</a:t>
          </a:r>
          <a:endParaRPr lang="zh-CN" alt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流程控制</a:t>
          </a:r>
          <a:endParaRPr lang="zh-CN" altLang="en-US" sz="800" kern="1200" dirty="0"/>
        </a:p>
      </dsp:txBody>
      <dsp:txXfrm rot="-5400000">
        <a:off x="531806" y="2664779"/>
        <a:ext cx="3619534" cy="445608"/>
      </dsp:txXfrm>
    </dsp:sp>
    <dsp:sp modelId="{E5940869-E5AB-401C-9004-799CB20D6B64}">
      <dsp:nvSpPr>
        <dsp:cNvPr id="0" name=""/>
        <dsp:cNvSpPr/>
      </dsp:nvSpPr>
      <dsp:spPr>
        <a:xfrm rot="5400000">
          <a:off x="-113958" y="3414177"/>
          <a:ext cx="759723" cy="5318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700" kern="1200" dirty="0" smtClean="0"/>
            <a:t>运营团队</a:t>
          </a:r>
          <a:endParaRPr lang="zh-CN" altLang="en-US" sz="700" kern="1200" dirty="0"/>
        </a:p>
      </dsp:txBody>
      <dsp:txXfrm rot="-5400000">
        <a:off x="1" y="3566121"/>
        <a:ext cx="531806" cy="227917"/>
      </dsp:txXfrm>
    </dsp:sp>
    <dsp:sp modelId="{F2016F92-3900-456B-9E8C-217727D7172A}">
      <dsp:nvSpPr>
        <dsp:cNvPr id="0" name=""/>
        <dsp:cNvSpPr/>
      </dsp:nvSpPr>
      <dsp:spPr>
        <a:xfrm rot="5400000">
          <a:off x="2106716" y="1725308"/>
          <a:ext cx="493820" cy="36436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产品运营</a:t>
          </a:r>
          <a:endParaRPr lang="zh-CN" altLang="en-US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800" kern="1200" dirty="0" smtClean="0"/>
            <a:t>客户服务</a:t>
          </a:r>
          <a:endParaRPr lang="zh-CN" altLang="en-US" sz="800" kern="1200" dirty="0"/>
        </a:p>
      </dsp:txBody>
      <dsp:txXfrm rot="-5400000">
        <a:off x="531806" y="3324324"/>
        <a:ext cx="3619534" cy="4456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F2417C-8321-4F49-9CBB-0FDA80167B7A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59351-9BB0-4DCF-9D38-4DCE18CAB0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0428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5/3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17931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6892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1</a:t>
            </a:r>
            <a:r>
              <a:rPr lang="zh-CN" altLang="en-US" dirty="0" smtClean="0"/>
              <a:t>、</a:t>
            </a:r>
            <a:r>
              <a:rPr lang="zh-CN" altLang="en-US" dirty="0" smtClean="0"/>
              <a:t>根据监控中心设置的策略，实时对同类型产品的上报数据进行追踪埋点，结合大数据，实时数据分析。解决用户不在家时，天气发生变化，智能提示用户关窗等情况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（公司内的</a:t>
            </a:r>
            <a:r>
              <a:rPr lang="en-US" altLang="zh-CN" dirty="0" err="1" smtClean="0"/>
              <a:t>Hadoop+</a:t>
            </a:r>
            <a:r>
              <a:rPr lang="en-US" altLang="zh-CN" b="1" dirty="0" err="1" smtClean="0"/>
              <a:t>Spark</a:t>
            </a:r>
            <a:r>
              <a:rPr lang="zh-CN" altLang="en-US" b="1" dirty="0" smtClean="0"/>
              <a:t>结合，</a:t>
            </a:r>
            <a:r>
              <a:rPr lang="en-US" altLang="zh-CN" b="1" dirty="0" smtClean="0"/>
              <a:t>GB</a:t>
            </a:r>
            <a:r>
              <a:rPr lang="zh-CN" altLang="en-US" b="1" dirty="0" smtClean="0"/>
              <a:t>单位量的数据可在分钟级别处理完成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2</a:t>
            </a:r>
            <a:r>
              <a:rPr lang="zh-CN" altLang="en-US" dirty="0" smtClean="0"/>
              <a:t>、风险行为的监控，可为用户安全和服务端异常安全提供强有力的数据支撑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3</a:t>
            </a:r>
            <a:r>
              <a:rPr lang="zh-CN" altLang="en-US" dirty="0" smtClean="0"/>
              <a:t>、设备联动</a:t>
            </a:r>
            <a:r>
              <a:rPr lang="en-US" altLang="zh-CN" dirty="0" smtClean="0"/>
              <a:t>IFTTT</a:t>
            </a:r>
            <a:r>
              <a:rPr lang="zh-CN" altLang="en-US" dirty="0" smtClean="0"/>
              <a:t>，可让智能设备更加智能化，轻松现实场景联动和策略推荐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9033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66255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9857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9430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30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29"/>
            <a:ext cx="6120680" cy="9001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5"/>
            <a:ext cx="3024188" cy="50323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5"/>
          <p:cNvSpPr txBox="1">
            <a:spLocks noChangeArrowheads="1"/>
          </p:cNvSpPr>
          <p:nvPr userDrawn="1"/>
        </p:nvSpPr>
        <p:spPr bwMode="auto">
          <a:xfrm>
            <a:off x="612777" y="692151"/>
            <a:ext cx="6048375" cy="147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en-US" altLang="zh-CN" sz="6000" dirty="0">
                <a:solidFill>
                  <a:schemeClr val="bg1"/>
                </a:solidFill>
              </a:rPr>
              <a:t>Click to add title</a:t>
            </a:r>
          </a:p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zh-CN" altLang="en-US" sz="3000" dirty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612777" y="2276476"/>
            <a:ext cx="6119813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3000" dirty="0">
                <a:solidFill>
                  <a:schemeClr val="bg1"/>
                </a:solidFill>
              </a:rPr>
              <a:t>Click to add subheading</a:t>
            </a:r>
          </a:p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bg1"/>
                </a:solidFill>
                <a:ea typeface="微软雅黑" pitchFamily="34" charset="-122"/>
              </a:rPr>
              <a:t>单击此处添加副标题</a:t>
            </a:r>
          </a:p>
        </p:txBody>
      </p:sp>
      <p:sp>
        <p:nvSpPr>
          <p:cNvPr id="20" name="Text Box 7"/>
          <p:cNvSpPr txBox="1">
            <a:spLocks noChangeArrowheads="1"/>
          </p:cNvSpPr>
          <p:nvPr userDrawn="1"/>
        </p:nvSpPr>
        <p:spPr bwMode="auto">
          <a:xfrm>
            <a:off x="612775" y="4029075"/>
            <a:ext cx="32400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600">
                <a:solidFill>
                  <a:schemeClr val="bg1"/>
                </a:solidFill>
              </a:rPr>
              <a:t>Date / Time</a:t>
            </a:r>
          </a:p>
        </p:txBody>
      </p:sp>
      <p:pic>
        <p:nvPicPr>
          <p:cNvPr id="24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2" y="-9526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2121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0098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5910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9500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4870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25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94259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9827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49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148" name="Picture 4" descr="D:\工作文件\通用\发布会PPT\底部模板136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35" y="1"/>
            <a:ext cx="914846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91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5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0588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749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78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126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940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63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7230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4198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37735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326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8" y="2472307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69"/>
            <a:ext cx="2000250" cy="85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24946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14472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3902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71" y="1052736"/>
            <a:ext cx="4041775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8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2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1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49"/>
            <a:ext cx="412936" cy="501651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1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3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3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1" y="-27384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9"/>
            <a:ext cx="381635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7" y="5534025"/>
            <a:ext cx="3744913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应用部分3-0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0033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2CB62BDA-36F9-470F-8DA1-A862C3C08FD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0084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0.jp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49"/>
            <a:ext cx="412936" cy="5016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92" r:id="rId9"/>
    <p:sldLayoutId id="2147483693" r:id="rId10"/>
    <p:sldLayoutId id="2147483695" r:id="rId11"/>
    <p:sldLayoutId id="2147483697" r:id="rId12"/>
    <p:sldLayoutId id="2147483698" r:id="rId13"/>
    <p:sldLayoutId id="2147483701" r:id="rId14"/>
    <p:sldLayoutId id="2147483707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249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7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4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microsoft.com/office/2007/relationships/hdphoto" Target="../media/hdphoto1.wdp"/><Relationship Id="rId12" Type="http://schemas.openxmlformats.org/officeDocument/2006/relationships/image" Target="../media/image24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9.png"/><Relationship Id="rId11" Type="http://schemas.openxmlformats.org/officeDocument/2006/relationships/image" Target="../media/image23.emf"/><Relationship Id="rId5" Type="http://schemas.openxmlformats.org/officeDocument/2006/relationships/image" Target="../media/image18.png"/><Relationship Id="rId10" Type="http://schemas.openxmlformats.org/officeDocument/2006/relationships/image" Target="../media/image22.png"/><Relationship Id="rId4" Type="http://schemas.openxmlformats.org/officeDocument/2006/relationships/image" Target="../media/image17.png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479635" y="2813447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zh-CN" altLang="en-US" sz="54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63703" y="2503452"/>
            <a:ext cx="441659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6600" b="1" dirty="0" smtClean="0">
                <a:solidFill>
                  <a:srgbClr val="0070C0"/>
                </a:solidFill>
                <a:latin typeface="+mj-ea"/>
                <a:ea typeface="+mj-ea"/>
              </a:rPr>
              <a:t>京东智联网</a:t>
            </a:r>
            <a:endParaRPr lang="en-US" altLang="zh-CN" sz="6600" b="1" dirty="0" smtClean="0">
              <a:solidFill>
                <a:srgbClr val="0070C0"/>
              </a:solidFill>
              <a:latin typeface="+mj-ea"/>
              <a:ea typeface="+mj-e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10902" y="3736777"/>
            <a:ext cx="38314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3600" b="1" dirty="0">
                <a:solidFill>
                  <a:srgbClr val="0070C0"/>
                </a:solidFill>
                <a:latin typeface="+mj-ea"/>
              </a:rPr>
              <a:t>--</a:t>
            </a:r>
            <a:r>
              <a:rPr lang="zh-CN" altLang="en-US" sz="3600" b="1" dirty="0">
                <a:solidFill>
                  <a:srgbClr val="0070C0"/>
                </a:solidFill>
                <a:latin typeface="+mj-ea"/>
              </a:rPr>
              <a:t>服务端架构</a:t>
            </a:r>
            <a:r>
              <a:rPr lang="zh-CN" altLang="en-US" sz="3600" b="1" dirty="0" smtClean="0">
                <a:solidFill>
                  <a:srgbClr val="0070C0"/>
                </a:solidFill>
                <a:latin typeface="+mj-ea"/>
              </a:rPr>
              <a:t>分析</a:t>
            </a:r>
            <a:endParaRPr lang="zh-CN" altLang="en-US" sz="3600" b="1" dirty="0">
              <a:solidFill>
                <a:srgbClr val="0070C0"/>
              </a:solidFill>
              <a:latin typeface="+mj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51148" y="5373216"/>
            <a:ext cx="19912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2000" b="1" dirty="0">
                <a:solidFill>
                  <a:srgbClr val="0071E2"/>
                </a:solidFill>
                <a:latin typeface="+mj-ea"/>
              </a:rPr>
              <a:t>智能硬件</a:t>
            </a:r>
            <a:r>
              <a:rPr lang="zh-CN" altLang="en-US" sz="2000" b="1" dirty="0" smtClean="0">
                <a:solidFill>
                  <a:srgbClr val="0071E2"/>
                </a:solidFill>
                <a:latin typeface="+mj-ea"/>
              </a:rPr>
              <a:t>实验室</a:t>
            </a:r>
            <a:endParaRPr lang="zh-CN" altLang="en-US" sz="2000" b="1" dirty="0">
              <a:solidFill>
                <a:srgbClr val="0071E2"/>
              </a:solidFill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83455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>
            <a:spLocks/>
          </p:cNvSpPr>
          <p:nvPr/>
        </p:nvSpPr>
        <p:spPr>
          <a:xfrm>
            <a:off x="395536" y="260648"/>
            <a:ext cx="6337028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b="1" dirty="0"/>
              <a:t>问题与思路：</a:t>
            </a:r>
            <a:r>
              <a:rPr lang="zh-CN" altLang="en-US" sz="1800" dirty="0" smtClean="0"/>
              <a:t>服务</a:t>
            </a:r>
            <a:r>
              <a:rPr lang="zh-CN" altLang="en-US" sz="1800" dirty="0"/>
              <a:t>的</a:t>
            </a:r>
            <a:r>
              <a:rPr lang="zh-CN" altLang="en-US" sz="1800" dirty="0" smtClean="0"/>
              <a:t>高性能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图示 1"/>
          <p:cNvGraphicFramePr/>
          <p:nvPr>
            <p:extLst>
              <p:ext uri="{D42A27DB-BD31-4B8C-83A1-F6EECF244321}">
                <p14:modId xmlns:p14="http://schemas.microsoft.com/office/powerpoint/2010/main" val="1297732598"/>
              </p:ext>
            </p:extLst>
          </p:nvPr>
        </p:nvGraphicFramePr>
        <p:xfrm>
          <a:off x="4884528" y="980728"/>
          <a:ext cx="4079960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1" name="文本占位符 7"/>
          <p:cNvSpPr txBox="1">
            <a:spLocks/>
          </p:cNvSpPr>
          <p:nvPr/>
        </p:nvSpPr>
        <p:spPr>
          <a:xfrm>
            <a:off x="457200" y="1071546"/>
            <a:ext cx="3008313" cy="516576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 smtClean="0"/>
              <a:t>网络层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 smtClean="0"/>
              <a:t>F5/LV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/>
              <a:t>Load </a:t>
            </a:r>
            <a:r>
              <a:rPr lang="en-US" altLang="zh-CN" sz="2400" dirty="0" smtClean="0"/>
              <a:t>Balance</a:t>
            </a:r>
          </a:p>
          <a:p>
            <a:r>
              <a:rPr lang="zh-CN" altLang="en-US" sz="2400" dirty="0"/>
              <a:t>协议</a:t>
            </a:r>
            <a:r>
              <a:rPr lang="zh-CN" altLang="en-US" sz="2400" dirty="0" smtClean="0"/>
              <a:t>层 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 smtClean="0"/>
              <a:t>UDP</a:t>
            </a:r>
            <a:r>
              <a:rPr lang="zh-CN" altLang="en-US" sz="2400" dirty="0" smtClean="0"/>
              <a:t>优先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 smtClean="0"/>
              <a:t>TCP</a:t>
            </a:r>
            <a:r>
              <a:rPr lang="zh-CN" altLang="en-US" sz="2400" dirty="0" smtClean="0"/>
              <a:t>备用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 smtClean="0"/>
              <a:t>SSL</a:t>
            </a:r>
            <a:r>
              <a:rPr lang="zh-CN" altLang="en-US" sz="2400" dirty="0" smtClean="0"/>
              <a:t>保障安全</a:t>
            </a:r>
            <a:endParaRPr lang="en-US" altLang="zh-CN" sz="2400" dirty="0" smtClean="0"/>
          </a:p>
          <a:p>
            <a:r>
              <a:rPr lang="zh-CN" altLang="en-US" sz="2400" dirty="0"/>
              <a:t>应用</a:t>
            </a:r>
            <a:r>
              <a:rPr lang="zh-CN" altLang="en-US" sz="2400" dirty="0" smtClean="0"/>
              <a:t>层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/>
              <a:t>异步</a:t>
            </a:r>
            <a:r>
              <a:rPr lang="en-US" altLang="zh-CN" sz="2400" dirty="0"/>
              <a:t>NIO</a:t>
            </a:r>
            <a:r>
              <a:rPr lang="zh-CN" altLang="en-US" sz="2400" dirty="0" smtClean="0"/>
              <a:t>机制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 smtClean="0"/>
              <a:t>UDP</a:t>
            </a:r>
            <a:r>
              <a:rPr lang="zh-CN" altLang="en-US" sz="2400" dirty="0" smtClean="0"/>
              <a:t>应用管理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/>
              <a:t>虚拟化权重线程池</a:t>
            </a:r>
          </a:p>
        </p:txBody>
      </p:sp>
    </p:spTree>
    <p:extLst>
      <p:ext uri="{BB962C8B-B14F-4D97-AF65-F5344CB8AC3E}">
        <p14:creationId xmlns:p14="http://schemas.microsoft.com/office/powerpoint/2010/main" val="530627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>
            <a:spLocks/>
          </p:cNvSpPr>
          <p:nvPr/>
        </p:nvSpPr>
        <p:spPr>
          <a:xfrm>
            <a:off x="395536" y="260648"/>
            <a:ext cx="668506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b="1" dirty="0"/>
              <a:t>问题与思路</a:t>
            </a:r>
            <a:r>
              <a:rPr lang="zh-CN" altLang="en-US" sz="1800" b="1" dirty="0" smtClean="0"/>
              <a:t>：</a:t>
            </a:r>
            <a:r>
              <a:rPr lang="zh-CN" altLang="en-US" sz="1800" dirty="0"/>
              <a:t>与第三方服务高效对接</a:t>
            </a:r>
            <a:r>
              <a:rPr lang="en-US" altLang="zh-CN" sz="1800" dirty="0"/>
              <a:t>/</a:t>
            </a:r>
            <a:r>
              <a:rPr lang="zh-CN" altLang="en-US" sz="1800" dirty="0"/>
              <a:t>增值</a:t>
            </a:r>
            <a:r>
              <a:rPr lang="zh-CN" altLang="en-US" sz="1800" dirty="0" smtClean="0"/>
              <a:t>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795772" y="1136552"/>
            <a:ext cx="1068718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社区</a:t>
            </a:r>
            <a:r>
              <a:rPr lang="en-US" altLang="zh-CN" dirty="0" smtClean="0"/>
              <a:t>/ISV</a:t>
            </a:r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>
            <a:off x="5368235" y="1867762"/>
            <a:ext cx="0" cy="35083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63061" y="1962170"/>
            <a:ext cx="1117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用户信息抓取</a:t>
            </a:r>
            <a:endParaRPr lang="zh-CN" altLang="en-US" sz="1000" dirty="0"/>
          </a:p>
        </p:txBody>
      </p:sp>
      <p:cxnSp>
        <p:nvCxnSpPr>
          <p:cNvPr id="20" name="直接箭头连接符 19"/>
          <p:cNvCxnSpPr/>
          <p:nvPr/>
        </p:nvCxnSpPr>
        <p:spPr>
          <a:xfrm>
            <a:off x="6581564" y="1839231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/>
          <p:cNvGrpSpPr/>
          <p:nvPr/>
        </p:nvGrpSpPr>
        <p:grpSpPr>
          <a:xfrm>
            <a:off x="4579720" y="2247943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2" name="矩形 21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 smtClean="0"/>
                <a:t>控制          </a:t>
              </a:r>
              <a:r>
                <a:rPr lang="en-US" altLang="zh-CN" dirty="0" smtClean="0"/>
                <a:t>AUTH2.0</a:t>
              </a:r>
              <a:endParaRPr lang="zh-CN" altLang="en-US" dirty="0"/>
            </a:p>
          </p:txBody>
        </p:sp>
        <p:sp>
          <p:nvSpPr>
            <p:cNvPr id="23" name="矩形 22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JOS</a:t>
              </a:r>
              <a:endParaRPr lang="zh-CN" altLang="en-US" sz="1050" dirty="0"/>
            </a:p>
          </p:txBody>
        </p:sp>
      </p:grpSp>
      <p:sp>
        <p:nvSpPr>
          <p:cNvPr id="28" name="矩形 27"/>
          <p:cNvSpPr/>
          <p:nvPr/>
        </p:nvSpPr>
        <p:spPr>
          <a:xfrm>
            <a:off x="4845821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6159434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30" name="直接箭头连接符 29"/>
          <p:cNvCxnSpPr/>
          <p:nvPr/>
        </p:nvCxnSpPr>
        <p:spPr>
          <a:xfrm>
            <a:off x="6011497" y="2896015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/>
          <p:nvPr/>
        </p:nvCxnSpPr>
        <p:spPr>
          <a:xfrm>
            <a:off x="7080598" y="2919936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7422381" y="338519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803037" y="1925250"/>
            <a:ext cx="11170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推荐数据</a:t>
            </a:r>
            <a:r>
              <a:rPr lang="en-US" altLang="zh-CN" sz="1000" dirty="0" smtClean="0"/>
              <a:t>/</a:t>
            </a:r>
            <a:r>
              <a:rPr lang="zh-CN" altLang="en-US" sz="1000" dirty="0" smtClean="0"/>
              <a:t>产品分析</a:t>
            </a:r>
            <a:endParaRPr lang="zh-CN" altLang="en-US" sz="1000" dirty="0"/>
          </a:p>
        </p:txBody>
      </p:sp>
      <p:sp>
        <p:nvSpPr>
          <p:cNvPr id="41" name="矩形 40"/>
          <p:cNvSpPr/>
          <p:nvPr/>
        </p:nvSpPr>
        <p:spPr>
          <a:xfrm>
            <a:off x="6047204" y="1146983"/>
            <a:ext cx="205318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数据消费方</a:t>
            </a:r>
            <a:endParaRPr lang="zh-CN" altLang="en-US" dirty="0"/>
          </a:p>
        </p:txBody>
      </p:sp>
      <p:cxnSp>
        <p:nvCxnSpPr>
          <p:cNvPr id="42" name="直接箭头连接符 41"/>
          <p:cNvCxnSpPr/>
          <p:nvPr/>
        </p:nvCxnSpPr>
        <p:spPr>
          <a:xfrm>
            <a:off x="7828499" y="1857554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/>
          <p:nvPr/>
        </p:nvCxnSpPr>
        <p:spPr>
          <a:xfrm>
            <a:off x="5639537" y="186776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5685986" y="1935458"/>
            <a:ext cx="11170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增值</a:t>
            </a:r>
            <a:r>
              <a:rPr lang="en-US" altLang="zh-CN" sz="1000" dirty="0" smtClean="0"/>
              <a:t>API</a:t>
            </a:r>
            <a:endParaRPr lang="zh-CN" altLang="en-US" sz="1000" dirty="0"/>
          </a:p>
        </p:txBody>
      </p:sp>
      <p:sp>
        <p:nvSpPr>
          <p:cNvPr id="24" name="文本占位符 7"/>
          <p:cNvSpPr txBox="1">
            <a:spLocks/>
          </p:cNvSpPr>
          <p:nvPr/>
        </p:nvSpPr>
        <p:spPr>
          <a:xfrm>
            <a:off x="457200" y="1071546"/>
            <a:ext cx="4122520" cy="516576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 smtClean="0"/>
              <a:t>协议规约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 smtClean="0"/>
              <a:t>Restful</a:t>
            </a:r>
            <a:r>
              <a:rPr lang="zh-CN" altLang="en-US" sz="2400" dirty="0" smtClean="0"/>
              <a:t>规约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 smtClean="0"/>
              <a:t>JOS</a:t>
            </a:r>
            <a:r>
              <a:rPr lang="zh-CN" altLang="en-US" sz="2400" dirty="0" smtClean="0"/>
              <a:t>平台支持</a:t>
            </a:r>
            <a:endParaRPr lang="en-US" altLang="zh-CN" sz="2400" dirty="0" smtClean="0"/>
          </a:p>
          <a:p>
            <a:r>
              <a:rPr lang="en-US" altLang="zh-CN" sz="2400" dirty="0" err="1" smtClean="0"/>
              <a:t>OpenAPI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开放</a:t>
            </a:r>
            <a:r>
              <a:rPr lang="en-US" altLang="zh-CN" sz="2400" dirty="0" smtClean="0"/>
              <a:t>API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/>
              <a:t>第三</a:t>
            </a:r>
            <a:r>
              <a:rPr lang="zh-CN" altLang="en-US" sz="2400" dirty="0" smtClean="0"/>
              <a:t>方鉴权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数据加密</a:t>
            </a:r>
            <a:endParaRPr lang="en-US" altLang="zh-CN" sz="2400" dirty="0" smtClean="0"/>
          </a:p>
          <a:p>
            <a:r>
              <a:rPr lang="zh-CN" altLang="en-US" sz="2400" dirty="0" smtClean="0"/>
              <a:t>数据开放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zh-CN" sz="2400" dirty="0" smtClean="0"/>
              <a:t>SOA</a:t>
            </a:r>
            <a:r>
              <a:rPr lang="zh-CN" altLang="en-US" sz="2400" dirty="0" smtClean="0"/>
              <a:t>平台化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第三</a:t>
            </a:r>
            <a:r>
              <a:rPr lang="zh-CN" altLang="en-US" sz="2400" dirty="0"/>
              <a:t>方数据</a:t>
            </a:r>
            <a:r>
              <a:rPr lang="zh-CN" altLang="en-US" sz="2400" dirty="0" smtClean="0"/>
              <a:t>互通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开放增值</a:t>
            </a:r>
            <a:r>
              <a:rPr lang="en-US" altLang="zh-CN" sz="2400" dirty="0" smtClean="0"/>
              <a:t>API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内部系统数据互通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77755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服务架构图</a:t>
            </a:r>
          </a:p>
        </p:txBody>
      </p:sp>
      <p:sp>
        <p:nvSpPr>
          <p:cNvPr id="2" name="圆角矩形 1"/>
          <p:cNvSpPr/>
          <p:nvPr/>
        </p:nvSpPr>
        <p:spPr>
          <a:xfrm>
            <a:off x="107504" y="1268760"/>
            <a:ext cx="1135804" cy="5400600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310526" y="1600274"/>
            <a:ext cx="796387" cy="62508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black"/>
                </a:solidFill>
              </a:rPr>
              <a:t>设备端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310526" y="2747416"/>
            <a:ext cx="796387" cy="72008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black"/>
                </a:solidFill>
              </a:rPr>
              <a:t>超级</a:t>
            </a:r>
            <a:endParaRPr lang="en-US" altLang="zh-CN" dirty="0" smtClean="0">
              <a:solidFill>
                <a:prstClr val="black"/>
              </a:solidFill>
            </a:endParaRPr>
          </a:p>
          <a:p>
            <a:pPr algn="ctr"/>
            <a:r>
              <a:rPr lang="en-US" altLang="zh-CN" dirty="0" smtClean="0">
                <a:solidFill>
                  <a:prstClr val="black"/>
                </a:solidFill>
              </a:rPr>
              <a:t>App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59" name="圆角矩形 58"/>
          <p:cNvSpPr/>
          <p:nvPr/>
        </p:nvSpPr>
        <p:spPr>
          <a:xfrm>
            <a:off x="257547" y="4666302"/>
            <a:ext cx="849366" cy="639656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black"/>
                </a:solidFill>
              </a:rPr>
              <a:t>超级</a:t>
            </a:r>
            <a:endParaRPr lang="en-US" altLang="zh-CN" dirty="0" smtClean="0">
              <a:solidFill>
                <a:prstClr val="black"/>
              </a:solidFill>
            </a:endParaRPr>
          </a:p>
          <a:p>
            <a:pPr algn="ctr"/>
            <a:r>
              <a:rPr lang="zh-CN" altLang="en-US" dirty="0" smtClean="0">
                <a:solidFill>
                  <a:prstClr val="black"/>
                </a:solidFill>
              </a:rPr>
              <a:t>智点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7884368" y="1256346"/>
            <a:ext cx="1047254" cy="5400600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2" name="圆角矩形 61"/>
          <p:cNvSpPr/>
          <p:nvPr/>
        </p:nvSpPr>
        <p:spPr>
          <a:xfrm>
            <a:off x="7984356" y="1433873"/>
            <a:ext cx="836116" cy="576064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</a:rPr>
              <a:t>第三方开发者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63" name="圆角矩形 62"/>
          <p:cNvSpPr/>
          <p:nvPr/>
        </p:nvSpPr>
        <p:spPr>
          <a:xfrm>
            <a:off x="7984356" y="2849922"/>
            <a:ext cx="836116" cy="698376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第三</a:t>
            </a:r>
            <a:endParaRPr lang="en-US" altLang="zh-CN" sz="1600" dirty="0" smtClean="0">
              <a:solidFill>
                <a:prstClr val="black"/>
              </a:solidFill>
            </a:endParaRPr>
          </a:p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方云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64" name="圆角矩形 63"/>
          <p:cNvSpPr/>
          <p:nvPr/>
        </p:nvSpPr>
        <p:spPr>
          <a:xfrm>
            <a:off x="8010946" y="4710567"/>
            <a:ext cx="836116" cy="73438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其他</a:t>
            </a:r>
            <a:endParaRPr lang="en-US" altLang="zh-CN" sz="1600" dirty="0" smtClean="0">
              <a:solidFill>
                <a:prstClr val="black"/>
              </a:solidFill>
            </a:endParaRPr>
          </a:p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系统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1309936" y="1268760"/>
            <a:ext cx="6452120" cy="5400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3203848" y="1337444"/>
            <a:ext cx="2376264" cy="2176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black"/>
                </a:solidFill>
              </a:rPr>
              <a:t>智联网</a:t>
            </a:r>
            <a:r>
              <a:rPr lang="zh-CN" altLang="en-US" dirty="0" smtClean="0">
                <a:solidFill>
                  <a:prstClr val="black"/>
                </a:solidFill>
              </a:rPr>
              <a:t>服务端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8" name="剪去同侧角的矩形 7"/>
          <p:cNvSpPr/>
          <p:nvPr/>
        </p:nvSpPr>
        <p:spPr>
          <a:xfrm rot="5400000">
            <a:off x="-942206" y="3792141"/>
            <a:ext cx="5148907" cy="457200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1447584" y="1513425"/>
            <a:ext cx="381812" cy="379751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>
                <a:solidFill>
                  <a:prstClr val="white"/>
                </a:solidFill>
              </a:rPr>
              <a:t>GW</a:t>
            </a:r>
            <a:endParaRPr lang="zh-CN" altLang="en-US" sz="1400" dirty="0">
              <a:solidFill>
                <a:prstClr val="white"/>
              </a:solidFill>
            </a:endParaRPr>
          </a:p>
        </p:txBody>
      </p:sp>
      <p:sp>
        <p:nvSpPr>
          <p:cNvPr id="65" name="圆角矩形 64"/>
          <p:cNvSpPr/>
          <p:nvPr/>
        </p:nvSpPr>
        <p:spPr>
          <a:xfrm>
            <a:off x="1403648" y="1988840"/>
            <a:ext cx="457200" cy="151715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</a:rPr>
              <a:t>权重线程池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66" name="圆角矩形 65"/>
          <p:cNvSpPr/>
          <p:nvPr/>
        </p:nvSpPr>
        <p:spPr>
          <a:xfrm>
            <a:off x="1403648" y="3573016"/>
            <a:ext cx="457200" cy="151715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</a:rPr>
              <a:t>长连接管理</a:t>
            </a:r>
          </a:p>
        </p:txBody>
      </p:sp>
      <p:sp>
        <p:nvSpPr>
          <p:cNvPr id="67" name="圆角矩形 66"/>
          <p:cNvSpPr/>
          <p:nvPr/>
        </p:nvSpPr>
        <p:spPr>
          <a:xfrm>
            <a:off x="1403648" y="5157192"/>
            <a:ext cx="457200" cy="1346571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>
                <a:solidFill>
                  <a:prstClr val="black"/>
                </a:solidFill>
              </a:rPr>
              <a:t>UDP/TCP</a:t>
            </a:r>
            <a:r>
              <a:rPr lang="zh-CN" altLang="en-US" sz="1400" dirty="0" smtClean="0">
                <a:solidFill>
                  <a:prstClr val="black"/>
                </a:solidFill>
              </a:rPr>
              <a:t>管理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68" name="剪去同侧角的矩形 67"/>
          <p:cNvSpPr/>
          <p:nvPr/>
        </p:nvSpPr>
        <p:spPr>
          <a:xfrm rot="16200000">
            <a:off x="4865290" y="3758630"/>
            <a:ext cx="5148907" cy="457200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69" name="圆角矩形 68"/>
          <p:cNvSpPr/>
          <p:nvPr/>
        </p:nvSpPr>
        <p:spPr>
          <a:xfrm>
            <a:off x="7247496" y="1451272"/>
            <a:ext cx="360040" cy="753592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prstClr val="white"/>
                </a:solidFill>
              </a:rPr>
              <a:t>JOS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71" name="圆角矩形 70"/>
          <p:cNvSpPr/>
          <p:nvPr/>
        </p:nvSpPr>
        <p:spPr>
          <a:xfrm>
            <a:off x="7211144" y="2491010"/>
            <a:ext cx="457200" cy="151715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black"/>
                </a:solidFill>
              </a:rPr>
              <a:t>业务管理</a:t>
            </a:r>
          </a:p>
        </p:txBody>
      </p:sp>
      <p:sp>
        <p:nvSpPr>
          <p:cNvPr id="72" name="圆角矩形 71"/>
          <p:cNvSpPr/>
          <p:nvPr/>
        </p:nvSpPr>
        <p:spPr>
          <a:xfrm>
            <a:off x="7211144" y="4632672"/>
            <a:ext cx="457200" cy="1346571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black"/>
                </a:solidFill>
              </a:rPr>
              <a:t>身份认证</a:t>
            </a:r>
          </a:p>
        </p:txBody>
      </p:sp>
      <p:sp>
        <p:nvSpPr>
          <p:cNvPr id="12" name="矩形 11"/>
          <p:cNvSpPr/>
          <p:nvPr/>
        </p:nvSpPr>
        <p:spPr>
          <a:xfrm>
            <a:off x="1932856" y="1622152"/>
            <a:ext cx="5231432" cy="115877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1932856" y="2852936"/>
            <a:ext cx="5231432" cy="15891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1932856" y="4509120"/>
            <a:ext cx="5231432" cy="124934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1932856" y="1703301"/>
            <a:ext cx="622920" cy="104411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dirty="0" smtClean="0">
                <a:solidFill>
                  <a:prstClr val="black"/>
                </a:solidFill>
              </a:rPr>
              <a:t>服务层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2571304" y="2012430"/>
            <a:ext cx="1064592" cy="7684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智能家居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3807916" y="2009937"/>
            <a:ext cx="1007604" cy="7684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智能健康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4943648" y="1999630"/>
            <a:ext cx="1007604" cy="7684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智能车载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6085260" y="1999630"/>
            <a:ext cx="1007604" cy="7684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智能教育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2004864" y="2999445"/>
            <a:ext cx="622920" cy="12961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dirty="0" smtClean="0">
                <a:solidFill>
                  <a:prstClr val="black"/>
                </a:solidFill>
              </a:rPr>
              <a:t>平台层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2571304" y="1628801"/>
            <a:ext cx="4521560" cy="28401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B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prstClr val="white"/>
                </a:solidFill>
              </a:rPr>
              <a:t>SDK/API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2555776" y="2994980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LOG</a:t>
            </a:r>
            <a:r>
              <a:rPr lang="zh-CN" altLang="en-US" sz="1600" dirty="0" smtClean="0">
                <a:solidFill>
                  <a:prstClr val="black"/>
                </a:solidFill>
              </a:rPr>
              <a:t>平台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3707904" y="2994980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消息队列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4860032" y="2996952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负载均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2555776" y="3499036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Push</a:t>
            </a:r>
            <a:r>
              <a:rPr lang="zh-CN" altLang="en-US" sz="1600" dirty="0" smtClean="0">
                <a:solidFill>
                  <a:prstClr val="black"/>
                </a:solidFill>
              </a:rPr>
              <a:t>推送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3707904" y="3499036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AUTH</a:t>
            </a:r>
            <a:r>
              <a:rPr lang="zh-CN" altLang="en-US" sz="1600" dirty="0" smtClean="0">
                <a:solidFill>
                  <a:prstClr val="black"/>
                </a:solidFill>
              </a:rPr>
              <a:t>认证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4860032" y="3501008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基础组件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90" name="矩形 89"/>
          <p:cNvSpPr/>
          <p:nvPr/>
        </p:nvSpPr>
        <p:spPr>
          <a:xfrm>
            <a:off x="2555776" y="4003092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策略服务</a:t>
            </a:r>
          </a:p>
        </p:txBody>
      </p:sp>
      <p:sp>
        <p:nvSpPr>
          <p:cNvPr id="91" name="矩形 90"/>
          <p:cNvSpPr/>
          <p:nvPr/>
        </p:nvSpPr>
        <p:spPr>
          <a:xfrm>
            <a:off x="3707904" y="4003092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监控统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4860032" y="4005064"/>
            <a:ext cx="1080120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增值服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96" name="矩形 95"/>
          <p:cNvSpPr/>
          <p:nvPr/>
        </p:nvSpPr>
        <p:spPr>
          <a:xfrm rot="5400000">
            <a:off x="5507118" y="3500022"/>
            <a:ext cx="1370124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</a:rPr>
              <a:t>设备管理中心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97" name="矩形 96"/>
          <p:cNvSpPr/>
          <p:nvPr/>
        </p:nvSpPr>
        <p:spPr>
          <a:xfrm rot="5400000">
            <a:off x="5904000" y="3501994"/>
            <a:ext cx="1370124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</a:rPr>
              <a:t>用户管理中心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98" name="矩形 97"/>
          <p:cNvSpPr/>
          <p:nvPr/>
        </p:nvSpPr>
        <p:spPr>
          <a:xfrm rot="5400000">
            <a:off x="6299206" y="3501994"/>
            <a:ext cx="1370124" cy="3600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</a:rPr>
              <a:t>安全管理中心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1948384" y="4509120"/>
            <a:ext cx="622920" cy="124934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dirty="0" smtClean="0">
                <a:solidFill>
                  <a:prstClr val="black"/>
                </a:solidFill>
              </a:rPr>
              <a:t>基础层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2571304" y="4632672"/>
            <a:ext cx="1424632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云计算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4112220" y="4632672"/>
            <a:ext cx="1467892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云存储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5688632" y="4632672"/>
            <a:ext cx="1404232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集群管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2555776" y="5229200"/>
            <a:ext cx="1440160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挖掘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105" name="矩形 104"/>
          <p:cNvSpPr/>
          <p:nvPr/>
        </p:nvSpPr>
        <p:spPr>
          <a:xfrm>
            <a:off x="4096692" y="5229200"/>
            <a:ext cx="1483420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容灾与备份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106" name="矩形 105"/>
          <p:cNvSpPr/>
          <p:nvPr/>
        </p:nvSpPr>
        <p:spPr>
          <a:xfrm>
            <a:off x="5673104" y="5229200"/>
            <a:ext cx="1419760" cy="3600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硬资源管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107" name="矩形 106"/>
          <p:cNvSpPr/>
          <p:nvPr/>
        </p:nvSpPr>
        <p:spPr>
          <a:xfrm>
            <a:off x="1920280" y="5830478"/>
            <a:ext cx="5231432" cy="76687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8" name="矩形 107"/>
          <p:cNvSpPr/>
          <p:nvPr/>
        </p:nvSpPr>
        <p:spPr>
          <a:xfrm>
            <a:off x="1948384" y="5830478"/>
            <a:ext cx="679400" cy="7647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设备</a:t>
            </a:r>
            <a:endParaRPr lang="en-US" altLang="zh-CN" sz="1600" dirty="0" smtClean="0">
              <a:solidFill>
                <a:prstClr val="black"/>
              </a:solidFill>
            </a:endParaRPr>
          </a:p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运维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2555776" y="6033895"/>
            <a:ext cx="2232248" cy="3600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运行监控与服务保障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115" name="矩形 114"/>
          <p:cNvSpPr/>
          <p:nvPr/>
        </p:nvSpPr>
        <p:spPr>
          <a:xfrm>
            <a:off x="4943648" y="6033895"/>
            <a:ext cx="2149216" cy="3600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网络与数据安全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pic>
        <p:nvPicPr>
          <p:cNvPr id="116" name="Picture 138" descr="Allseen-SmartPhone-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305" y="3706476"/>
            <a:ext cx="308829" cy="561507"/>
          </a:xfrm>
          <a:prstGeom prst="rect">
            <a:avLst/>
          </a:prstGeom>
          <a:effectLst/>
        </p:spPr>
      </p:pic>
      <p:pic>
        <p:nvPicPr>
          <p:cNvPr id="117" name="Picture 147" descr="Allseen-WirelessRouter-K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26" y="5682952"/>
            <a:ext cx="839636" cy="701883"/>
          </a:xfrm>
          <a:prstGeom prst="rect">
            <a:avLst/>
          </a:prstGeom>
          <a:effectLst/>
        </p:spPr>
      </p:pic>
      <p:sp>
        <p:nvSpPr>
          <p:cNvPr id="119" name="云形标注 118"/>
          <p:cNvSpPr/>
          <p:nvPr/>
        </p:nvSpPr>
        <p:spPr>
          <a:xfrm>
            <a:off x="8010946" y="4016464"/>
            <a:ext cx="698376" cy="373954"/>
          </a:xfrm>
          <a:prstGeom prst="cloudCallout">
            <a:avLst/>
          </a:prstGeom>
          <a:gradFill flip="none" rotWithShape="1">
            <a:gsLst>
              <a:gs pos="0">
                <a:schemeClr val="tx1">
                  <a:tint val="66000"/>
                  <a:satMod val="160000"/>
                </a:schemeClr>
              </a:gs>
              <a:gs pos="50000">
                <a:schemeClr val="tx1">
                  <a:tint val="44500"/>
                  <a:satMod val="160000"/>
                </a:schemeClr>
              </a:gs>
              <a:gs pos="100000">
                <a:schemeClr val="tx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120" name="Picture 61" descr="Allseen-DisplayTelevision-K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0842" y="5818063"/>
            <a:ext cx="598583" cy="46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318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5496" y="332656"/>
            <a:ext cx="2376264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prstClr val="black"/>
                </a:solidFill>
              </a:rPr>
              <a:t> </a:t>
            </a:r>
            <a:r>
              <a:rPr lang="zh-CN" altLang="en-US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服务端安全框架图</a:t>
            </a:r>
            <a:endParaRPr lang="zh-CN" altLang="en-US" dirty="0">
              <a:solidFill>
                <a:schemeClr val="tx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56692" y="1520788"/>
            <a:ext cx="958924" cy="50765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dirty="0">
                <a:solidFill>
                  <a:prstClr val="white"/>
                </a:solidFill>
              </a:rPr>
              <a:t>服务安全管理中心</a:t>
            </a:r>
          </a:p>
        </p:txBody>
      </p:sp>
      <p:sp>
        <p:nvSpPr>
          <p:cNvPr id="4" name="矩形 3"/>
          <p:cNvSpPr/>
          <p:nvPr/>
        </p:nvSpPr>
        <p:spPr>
          <a:xfrm>
            <a:off x="1261964" y="1520788"/>
            <a:ext cx="1152128" cy="6120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white"/>
                </a:solidFill>
              </a:rPr>
              <a:t>云身份</a:t>
            </a:r>
            <a:endParaRPr lang="en-US" altLang="zh-CN" sz="1400" dirty="0" smtClean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 smtClean="0">
                <a:solidFill>
                  <a:prstClr val="white"/>
                </a:solidFill>
              </a:rPr>
              <a:t>安全管理</a:t>
            </a:r>
            <a:endParaRPr lang="zh-CN" altLang="en-US" sz="1400" dirty="0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261964" y="2492896"/>
            <a:ext cx="1152128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网络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安全管理</a:t>
            </a:r>
          </a:p>
        </p:txBody>
      </p:sp>
      <p:sp>
        <p:nvSpPr>
          <p:cNvPr id="14" name="矩形 13"/>
          <p:cNvSpPr/>
          <p:nvPr/>
        </p:nvSpPr>
        <p:spPr>
          <a:xfrm>
            <a:off x="1259632" y="3356694"/>
            <a:ext cx="1152128" cy="5763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内容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安全管理</a:t>
            </a:r>
          </a:p>
        </p:txBody>
      </p:sp>
      <p:sp>
        <p:nvSpPr>
          <p:cNvPr id="15" name="矩形 14"/>
          <p:cNvSpPr/>
          <p:nvPr/>
        </p:nvSpPr>
        <p:spPr>
          <a:xfrm>
            <a:off x="1261964" y="4220790"/>
            <a:ext cx="1152128" cy="5763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数据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安全管理</a:t>
            </a:r>
          </a:p>
        </p:txBody>
      </p:sp>
      <p:sp>
        <p:nvSpPr>
          <p:cNvPr id="16" name="矩形 15"/>
          <p:cNvSpPr/>
          <p:nvPr/>
        </p:nvSpPr>
        <p:spPr>
          <a:xfrm>
            <a:off x="1259632" y="5084886"/>
            <a:ext cx="1152128" cy="5763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状态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事件监控</a:t>
            </a:r>
          </a:p>
        </p:txBody>
      </p:sp>
      <p:sp>
        <p:nvSpPr>
          <p:cNvPr id="18" name="矩形 17"/>
          <p:cNvSpPr/>
          <p:nvPr/>
        </p:nvSpPr>
        <p:spPr>
          <a:xfrm>
            <a:off x="1261964" y="6020990"/>
            <a:ext cx="1152128" cy="5763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全局</a:t>
            </a:r>
            <a:endParaRPr lang="en-US" altLang="zh-CN" sz="1400" dirty="0">
              <a:solidFill>
                <a:prstClr val="white"/>
              </a:solidFill>
            </a:endParaRPr>
          </a:p>
          <a:p>
            <a:pPr algn="ctr"/>
            <a:r>
              <a:rPr lang="zh-CN" altLang="en-US" sz="1400" dirty="0">
                <a:solidFill>
                  <a:prstClr val="white"/>
                </a:solidFill>
              </a:rPr>
              <a:t>策略管理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56692" y="980728"/>
            <a:ext cx="2255068" cy="396044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white"/>
                </a:solidFill>
              </a:rPr>
              <a:t>管理端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2483768" y="1556792"/>
            <a:ext cx="6336704" cy="3445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</a:rPr>
              <a:t>云身份</a:t>
            </a:r>
            <a:r>
              <a:rPr lang="zh-CN" altLang="en-US" dirty="0" smtClean="0">
                <a:solidFill>
                  <a:prstClr val="white"/>
                </a:solidFill>
              </a:rPr>
              <a:t>安全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2483768" y="980728"/>
            <a:ext cx="6336704" cy="396044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</a:rPr>
              <a:t>执行</a:t>
            </a:r>
            <a:r>
              <a:rPr lang="zh-CN" altLang="en-US" dirty="0" smtClean="0">
                <a:solidFill>
                  <a:prstClr val="white"/>
                </a:solidFill>
              </a:rPr>
              <a:t>端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2483768" y="1889702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云安全</a:t>
            </a:r>
            <a:r>
              <a:rPr lang="zh-CN" altLang="en-US" sz="1600" dirty="0" smtClean="0">
                <a:solidFill>
                  <a:prstClr val="black"/>
                </a:solidFill>
              </a:rPr>
              <a:t>登录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702472" y="18900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云安全</a:t>
            </a:r>
            <a:r>
              <a:rPr lang="zh-CN" altLang="en-US" sz="1600" dirty="0" smtClean="0">
                <a:solidFill>
                  <a:prstClr val="black"/>
                </a:solidFill>
              </a:rPr>
              <a:t>认证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926608" y="1889702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云安全授权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132116" y="1889702"/>
            <a:ext cx="1392212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云安全计费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524328" y="1890000"/>
            <a:ext cx="1296144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云接入管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2495848" y="2492896"/>
            <a:ext cx="6336704" cy="34450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</a:rPr>
              <a:t>网络</a:t>
            </a:r>
            <a:r>
              <a:rPr lang="zh-CN" altLang="en-US" dirty="0" smtClean="0">
                <a:solidFill>
                  <a:prstClr val="white"/>
                </a:solidFill>
              </a:rPr>
              <a:t>安全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2495848" y="2825806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VPN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714552" y="2826104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防火墙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4938688" y="2825806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IDS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6144196" y="2825806"/>
            <a:ext cx="1164108" cy="2434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网络加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7308304" y="2826104"/>
            <a:ext cx="1524248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漏洞</a:t>
            </a:r>
            <a:r>
              <a:rPr lang="zh-CN" altLang="en-US" sz="1600" dirty="0" smtClean="0">
                <a:solidFill>
                  <a:prstClr val="black"/>
                </a:solidFill>
              </a:rPr>
              <a:t>扫描</a:t>
            </a:r>
            <a:r>
              <a:rPr lang="en-US" altLang="zh-CN" sz="1600" dirty="0" smtClean="0">
                <a:solidFill>
                  <a:prstClr val="black"/>
                </a:solidFill>
              </a:rPr>
              <a:t>/</a:t>
            </a:r>
            <a:r>
              <a:rPr lang="zh-CN" altLang="en-US" sz="1600" dirty="0" smtClean="0">
                <a:solidFill>
                  <a:prstClr val="black"/>
                </a:solidFill>
              </a:rPr>
              <a:t>防毒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2483768" y="3356694"/>
            <a:ext cx="6336704" cy="34450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white"/>
                </a:solidFill>
              </a:rPr>
              <a:t>基础内容安全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2483768" y="3689604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网络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3702472" y="3689902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应用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4926608" y="3689604"/>
            <a:ext cx="1085552" cy="2434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prstClr val="black"/>
                </a:solidFill>
              </a:rPr>
              <a:t>OS</a:t>
            </a:r>
            <a:r>
              <a:rPr lang="zh-CN" altLang="en-US" sz="1600" dirty="0" smtClean="0">
                <a:solidFill>
                  <a:prstClr val="black"/>
                </a:solidFill>
              </a:rPr>
              <a:t>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012160" y="3689604"/>
            <a:ext cx="1512168" cy="2434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prstClr val="black"/>
                </a:solidFill>
              </a:rPr>
              <a:t>虚拟</a:t>
            </a:r>
            <a:r>
              <a:rPr lang="zh-CN" altLang="en-US" sz="1600" dirty="0" smtClean="0">
                <a:solidFill>
                  <a:prstClr val="black"/>
                </a:solidFill>
              </a:rPr>
              <a:t>环境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7524328" y="3689902"/>
            <a:ext cx="1296144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审计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2483768" y="4220790"/>
            <a:ext cx="6336704" cy="34450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prstClr val="white"/>
                </a:solidFill>
              </a:rPr>
              <a:t>数据</a:t>
            </a:r>
            <a:r>
              <a:rPr lang="zh-CN" altLang="en-US" dirty="0" smtClean="0">
                <a:solidFill>
                  <a:prstClr val="white"/>
                </a:solidFill>
              </a:rPr>
              <a:t>安全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483768" y="45537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加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3702472" y="4553998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共享数据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4926608" y="45537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密钥管理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132116" y="4553700"/>
            <a:ext cx="1392212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容灾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7524328" y="4553998"/>
            <a:ext cx="1296144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数据备份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2483768" y="5084886"/>
            <a:ext cx="6336704" cy="34450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white"/>
                </a:solidFill>
              </a:rPr>
              <a:t>状态监控及事件管理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2483768" y="5417796"/>
            <a:ext cx="1362720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网络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846488" y="5418094"/>
            <a:ext cx="1445592" cy="24285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主机资源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5286648" y="5417796"/>
            <a:ext cx="1445592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虚拟环境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6708180" y="5417796"/>
            <a:ext cx="1032172" cy="2434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日志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7740352" y="5418094"/>
            <a:ext cx="1080120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</a:rPr>
              <a:t>事件监控</a:t>
            </a:r>
            <a:endParaRPr lang="zh-CN" altLang="en-US" sz="1600" dirty="0">
              <a:solidFill>
                <a:prstClr val="black"/>
              </a:solidFill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2483768" y="6020990"/>
            <a:ext cx="6336704" cy="34450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prstClr val="white"/>
                </a:solidFill>
              </a:rPr>
              <a:t>策略管理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2483768" y="63539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prstClr val="black"/>
                </a:solidFill>
              </a:rPr>
              <a:t>环境安全策略</a:t>
            </a:r>
            <a:endParaRPr lang="zh-CN" altLang="en-US" sz="1200" dirty="0">
              <a:solidFill>
                <a:prstClr val="black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3702472" y="6354198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</a:rPr>
              <a:t>内容安全策略</a:t>
            </a:r>
          </a:p>
        </p:txBody>
      </p:sp>
      <p:sp>
        <p:nvSpPr>
          <p:cNvPr id="53" name="矩形 52"/>
          <p:cNvSpPr/>
          <p:nvPr/>
        </p:nvSpPr>
        <p:spPr>
          <a:xfrm>
            <a:off x="4926608" y="6353900"/>
            <a:ext cx="1224136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</a:rPr>
              <a:t>数据安全策略</a:t>
            </a:r>
          </a:p>
        </p:txBody>
      </p:sp>
      <p:sp>
        <p:nvSpPr>
          <p:cNvPr id="54" name="矩形 53"/>
          <p:cNvSpPr/>
          <p:nvPr/>
        </p:nvSpPr>
        <p:spPr>
          <a:xfrm>
            <a:off x="6132116" y="6353900"/>
            <a:ext cx="1392212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</a:rPr>
              <a:t>监控报告策略</a:t>
            </a:r>
          </a:p>
        </p:txBody>
      </p:sp>
      <p:sp>
        <p:nvSpPr>
          <p:cNvPr id="55" name="矩形 54"/>
          <p:cNvSpPr/>
          <p:nvPr/>
        </p:nvSpPr>
        <p:spPr>
          <a:xfrm>
            <a:off x="7524328" y="6354198"/>
            <a:ext cx="1296144" cy="2431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</a:rPr>
              <a:t>动态安全策略</a:t>
            </a:r>
          </a:p>
        </p:txBody>
      </p:sp>
    </p:spTree>
    <p:extLst>
      <p:ext uri="{BB962C8B-B14F-4D97-AF65-F5344CB8AC3E}">
        <p14:creationId xmlns:p14="http://schemas.microsoft.com/office/powerpoint/2010/main" val="427755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</a:t>
            </a:r>
            <a:r>
              <a:rPr lang="zh-CN" altLang="en-US" sz="1800" dirty="0" smtClean="0"/>
              <a:t>服务器架构图</a:t>
            </a:r>
            <a:endParaRPr lang="zh-CN" altLang="en-US" sz="1800" dirty="0"/>
          </a:p>
        </p:txBody>
      </p:sp>
      <p:sp>
        <p:nvSpPr>
          <p:cNvPr id="5" name="矩形 4"/>
          <p:cNvSpPr/>
          <p:nvPr/>
        </p:nvSpPr>
        <p:spPr>
          <a:xfrm>
            <a:off x="3292996" y="1034734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备端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3287104" y="1826822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5/LVS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1500133" y="2603841"/>
            <a:ext cx="5679850" cy="86409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1636812" y="2747857"/>
            <a:ext cx="1656184" cy="5760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华北联通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3511966" y="2747857"/>
            <a:ext cx="1656184" cy="5760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南方电信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5387120" y="2736236"/>
            <a:ext cx="1656184" cy="58768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常州铁通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3278138" y="3611953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服务集群负载均衡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1475750" y="4419110"/>
            <a:ext cx="5679850" cy="11521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1612429" y="4563126"/>
            <a:ext cx="1238994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MQ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cxnSp>
        <p:nvCxnSpPr>
          <p:cNvPr id="15" name="直接箭头连接符 14"/>
          <p:cNvCxnSpPr>
            <a:stCxn id="12" idx="2"/>
            <a:endCxn id="13" idx="0"/>
          </p:cNvCxnSpPr>
          <p:nvPr/>
        </p:nvCxnSpPr>
        <p:spPr>
          <a:xfrm flipH="1">
            <a:off x="4315675" y="4260025"/>
            <a:ext cx="9525" cy="159085"/>
          </a:xfrm>
          <a:prstGeom prst="straightConnector1">
            <a:avLst/>
          </a:prstGeom>
          <a:ln>
            <a:noFill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/>
          <p:cNvSpPr/>
          <p:nvPr/>
        </p:nvSpPr>
        <p:spPr>
          <a:xfrm>
            <a:off x="2995439" y="4563126"/>
            <a:ext cx="1224136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HTT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4351015" y="4563126"/>
            <a:ext cx="1236712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TC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5676875" y="4563126"/>
            <a:ext cx="1236712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UD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1469648" y="5715254"/>
            <a:ext cx="5679850" cy="81009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服务</a:t>
            </a:r>
            <a:r>
              <a:rPr lang="zh-CN" altLang="en-US" dirty="0"/>
              <a:t>接入</a:t>
            </a:r>
            <a:r>
              <a:rPr lang="zh-CN" altLang="en-US" dirty="0" smtClean="0"/>
              <a:t>层</a:t>
            </a:r>
            <a:endParaRPr lang="zh-CN" altLang="en-US" dirty="0"/>
          </a:p>
        </p:txBody>
      </p:sp>
      <p:sp>
        <p:nvSpPr>
          <p:cNvPr id="20" name="下箭头 19"/>
          <p:cNvSpPr/>
          <p:nvPr/>
        </p:nvSpPr>
        <p:spPr>
          <a:xfrm>
            <a:off x="4301108" y="1733507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下箭头 20"/>
          <p:cNvSpPr/>
          <p:nvPr/>
        </p:nvSpPr>
        <p:spPr>
          <a:xfrm>
            <a:off x="4301108" y="2474894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下箭头 21"/>
          <p:cNvSpPr/>
          <p:nvPr/>
        </p:nvSpPr>
        <p:spPr>
          <a:xfrm>
            <a:off x="4301108" y="3483006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下箭头 22"/>
          <p:cNvSpPr/>
          <p:nvPr/>
        </p:nvSpPr>
        <p:spPr>
          <a:xfrm>
            <a:off x="4301108" y="4293096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下箭头 23"/>
          <p:cNvSpPr/>
          <p:nvPr/>
        </p:nvSpPr>
        <p:spPr>
          <a:xfrm>
            <a:off x="4301108" y="5607242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048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395536" y="260648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产品加入京东智联网合作流程</a:t>
            </a:r>
            <a:endParaRPr lang="zh-CN" altLang="en-US" sz="1800" dirty="0"/>
          </a:p>
        </p:txBody>
      </p: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1096963" y="3297238"/>
            <a:ext cx="1041400" cy="1052512"/>
            <a:chOff x="691" y="2077"/>
            <a:chExt cx="656" cy="663"/>
          </a:xfrm>
        </p:grpSpPr>
        <p:pic>
          <p:nvPicPr>
            <p:cNvPr id="6" name="Picture 3" descr="circuler_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91" y="2077"/>
              <a:ext cx="656" cy="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Oval 4"/>
            <p:cNvSpPr>
              <a:spLocks noChangeArrowheads="1"/>
            </p:cNvSpPr>
            <p:nvPr/>
          </p:nvSpPr>
          <p:spPr bwMode="gray">
            <a:xfrm>
              <a:off x="691" y="2077"/>
              <a:ext cx="652" cy="663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chemeClr val="hlink">
                    <a:gamma/>
                    <a:tint val="22353"/>
                    <a:invGamma/>
                  </a:schemeClr>
                </a:gs>
                <a:gs pos="100000">
                  <a:schemeClr val="hlink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" name="Group 5"/>
            <p:cNvGrpSpPr>
              <a:grpSpLocks/>
            </p:cNvGrpSpPr>
            <p:nvPr/>
          </p:nvGrpSpPr>
          <p:grpSpPr bwMode="auto">
            <a:xfrm>
              <a:off x="737" y="2609"/>
              <a:ext cx="575" cy="110"/>
              <a:chOff x="3704" y="1872"/>
              <a:chExt cx="827" cy="156"/>
            </a:xfrm>
          </p:grpSpPr>
          <p:grpSp>
            <p:nvGrpSpPr>
              <p:cNvPr id="9" name="Group 6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15" name="AutoShape 7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6" name="AutoShape 8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7" name="AutoShape 9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" name="AutoShape 10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" name="Group 11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11" name="AutoShape 12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" name="AutoShape 13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" name="AutoShape 14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" name="AutoShape 15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19" name="Group 16"/>
          <p:cNvGrpSpPr>
            <a:grpSpLocks/>
          </p:cNvGrpSpPr>
          <p:nvPr/>
        </p:nvGrpSpPr>
        <p:grpSpPr bwMode="auto">
          <a:xfrm>
            <a:off x="3060700" y="3289300"/>
            <a:ext cx="1041400" cy="1052513"/>
            <a:chOff x="1928" y="2072"/>
            <a:chExt cx="656" cy="663"/>
          </a:xfrm>
        </p:grpSpPr>
        <p:pic>
          <p:nvPicPr>
            <p:cNvPr id="20" name="Picture 17" descr="circuler_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928" y="2072"/>
              <a:ext cx="656" cy="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Oval 18"/>
            <p:cNvSpPr>
              <a:spLocks noChangeArrowheads="1"/>
            </p:cNvSpPr>
            <p:nvPr/>
          </p:nvSpPr>
          <p:spPr bwMode="gray">
            <a:xfrm>
              <a:off x="1928" y="2072"/>
              <a:ext cx="652" cy="663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50000">
                  <a:schemeClr val="accent2">
                    <a:gamma/>
                    <a:tint val="22353"/>
                    <a:invGamma/>
                  </a:schemeClr>
                </a:gs>
                <a:gs pos="100000">
                  <a:schemeClr val="accent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" name="Group 19"/>
            <p:cNvGrpSpPr>
              <a:grpSpLocks/>
            </p:cNvGrpSpPr>
            <p:nvPr/>
          </p:nvGrpSpPr>
          <p:grpSpPr bwMode="auto">
            <a:xfrm>
              <a:off x="1974" y="2604"/>
              <a:ext cx="575" cy="110"/>
              <a:chOff x="3704" y="1872"/>
              <a:chExt cx="827" cy="156"/>
            </a:xfrm>
          </p:grpSpPr>
          <p:grpSp>
            <p:nvGrpSpPr>
              <p:cNvPr id="23" name="Group 20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29" name="AutoShape 21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" name="AutoShape 22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1" name="AutoShape 23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2" name="AutoShape 24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24" name="Group 25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25" name="AutoShape 26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" name="AutoShape 27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" name="AutoShape 28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" name="AutoShape 29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33" name="Group 30"/>
          <p:cNvGrpSpPr>
            <a:grpSpLocks/>
          </p:cNvGrpSpPr>
          <p:nvPr/>
        </p:nvGrpSpPr>
        <p:grpSpPr bwMode="auto">
          <a:xfrm>
            <a:off x="4999038" y="3300413"/>
            <a:ext cx="1041400" cy="1050925"/>
            <a:chOff x="3149" y="2079"/>
            <a:chExt cx="656" cy="662"/>
          </a:xfrm>
        </p:grpSpPr>
        <p:pic>
          <p:nvPicPr>
            <p:cNvPr id="34" name="Picture 31" descr="circuler_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49" y="2079"/>
              <a:ext cx="656" cy="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Oval 32"/>
            <p:cNvSpPr>
              <a:spLocks noChangeArrowheads="1"/>
            </p:cNvSpPr>
            <p:nvPr/>
          </p:nvSpPr>
          <p:spPr bwMode="gray">
            <a:xfrm>
              <a:off x="3149" y="2079"/>
              <a:ext cx="652" cy="662"/>
            </a:xfrm>
            <a:prstGeom prst="ellipse">
              <a:avLst/>
            </a:prstGeom>
            <a:gradFill rotWithShape="1">
              <a:gsLst>
                <a:gs pos="0">
                  <a:schemeClr val="folHlink"/>
                </a:gs>
                <a:gs pos="50000">
                  <a:schemeClr val="folHlink">
                    <a:gamma/>
                    <a:tint val="22353"/>
                    <a:invGamma/>
                  </a:schemeClr>
                </a:gs>
                <a:gs pos="100000">
                  <a:schemeClr val="folHlink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" name="Group 33"/>
            <p:cNvGrpSpPr>
              <a:grpSpLocks/>
            </p:cNvGrpSpPr>
            <p:nvPr/>
          </p:nvGrpSpPr>
          <p:grpSpPr bwMode="auto">
            <a:xfrm>
              <a:off x="3195" y="2610"/>
              <a:ext cx="575" cy="111"/>
              <a:chOff x="3704" y="1872"/>
              <a:chExt cx="827" cy="156"/>
            </a:xfrm>
          </p:grpSpPr>
          <p:grpSp>
            <p:nvGrpSpPr>
              <p:cNvPr id="37" name="Group 34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43" name="AutoShape 35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4" name="AutoShape 36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5" name="AutoShape 37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6" name="AutoShape 38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38" name="Group 39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39" name="AutoShape 40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0" name="AutoShape 41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1" name="AutoShape 42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2" name="AutoShape 43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47" name="Group 44"/>
          <p:cNvGrpSpPr>
            <a:grpSpLocks/>
          </p:cNvGrpSpPr>
          <p:nvPr/>
        </p:nvGrpSpPr>
        <p:grpSpPr bwMode="auto">
          <a:xfrm>
            <a:off x="6961188" y="3292475"/>
            <a:ext cx="1041400" cy="1050925"/>
            <a:chOff x="4385" y="2074"/>
            <a:chExt cx="656" cy="662"/>
          </a:xfrm>
        </p:grpSpPr>
        <p:pic>
          <p:nvPicPr>
            <p:cNvPr id="48" name="Picture 45" descr="circuler_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85" y="2074"/>
              <a:ext cx="656" cy="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" name="Oval 46"/>
            <p:cNvSpPr>
              <a:spLocks noChangeArrowheads="1"/>
            </p:cNvSpPr>
            <p:nvPr/>
          </p:nvSpPr>
          <p:spPr bwMode="gray">
            <a:xfrm>
              <a:off x="4385" y="2074"/>
              <a:ext cx="652" cy="662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50000">
                  <a:schemeClr val="accent1">
                    <a:gamma/>
                    <a:tint val="22353"/>
                    <a:invGamma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0" name="Group 47"/>
            <p:cNvGrpSpPr>
              <a:grpSpLocks/>
            </p:cNvGrpSpPr>
            <p:nvPr/>
          </p:nvGrpSpPr>
          <p:grpSpPr bwMode="auto">
            <a:xfrm>
              <a:off x="4431" y="2605"/>
              <a:ext cx="575" cy="111"/>
              <a:chOff x="3704" y="1872"/>
              <a:chExt cx="827" cy="156"/>
            </a:xfrm>
          </p:grpSpPr>
          <p:grpSp>
            <p:nvGrpSpPr>
              <p:cNvPr id="51" name="Group 48"/>
              <p:cNvGrpSpPr>
                <a:grpSpLocks/>
              </p:cNvGrpSpPr>
              <p:nvPr/>
            </p:nvGrpSpPr>
            <p:grpSpPr bwMode="auto">
              <a:xfrm rot="-1297425" flipH="1" flipV="1">
                <a:off x="3850" y="1872"/>
                <a:ext cx="681" cy="150"/>
                <a:chOff x="1565" y="2568"/>
                <a:chExt cx="1118" cy="279"/>
              </a:xfrm>
            </p:grpSpPr>
            <p:sp>
              <p:nvSpPr>
                <p:cNvPr id="57" name="AutoShape 49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8" name="AutoShape 50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9" name="AutoShape 51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60" name="AutoShape 52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52" name="Group 53"/>
              <p:cNvGrpSpPr>
                <a:grpSpLocks/>
              </p:cNvGrpSpPr>
              <p:nvPr/>
            </p:nvGrpSpPr>
            <p:grpSpPr bwMode="auto">
              <a:xfrm rot="56115" flipH="1" flipV="1">
                <a:off x="3704" y="1878"/>
                <a:ext cx="681" cy="150"/>
                <a:chOff x="1565" y="2568"/>
                <a:chExt cx="1118" cy="279"/>
              </a:xfrm>
            </p:grpSpPr>
            <p:sp>
              <p:nvSpPr>
                <p:cNvPr id="53" name="AutoShape 54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4" name="AutoShape 55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5" name="AutoShape 56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6" name="AutoShape 57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20000"/>
                    </a:spcBef>
                    <a:buClr>
                      <a:schemeClr val="tx2"/>
                    </a:buClr>
                    <a:buFont typeface="Wingdings" pitchFamily="2" charset="2"/>
                    <a:buChar char="v"/>
                    <a:defRPr sz="2800"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accent1"/>
                    </a:buClr>
                    <a:buFont typeface="Wingdings" pitchFamily="2" charset="2"/>
                    <a:buChar char="§"/>
                    <a:defRPr sz="2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zh-CN" altLang="en-US" sz="18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sp>
        <p:nvSpPr>
          <p:cNvPr id="61" name="Line 58"/>
          <p:cNvSpPr>
            <a:spLocks noChangeShapeType="1"/>
          </p:cNvSpPr>
          <p:nvPr/>
        </p:nvSpPr>
        <p:spPr bwMode="gray">
          <a:xfrm>
            <a:off x="1612900" y="44450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Line 59"/>
          <p:cNvSpPr>
            <a:spLocks noChangeShapeType="1"/>
          </p:cNvSpPr>
          <p:nvPr/>
        </p:nvSpPr>
        <p:spPr bwMode="gray">
          <a:xfrm flipH="1">
            <a:off x="857250" y="4789488"/>
            <a:ext cx="1495425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Text Box 61"/>
          <p:cNvSpPr txBox="1">
            <a:spLocks noChangeArrowheads="1"/>
          </p:cNvSpPr>
          <p:nvPr/>
        </p:nvSpPr>
        <p:spPr bwMode="gray">
          <a:xfrm>
            <a:off x="1008857" y="3635732"/>
            <a:ext cx="12588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步洽谈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Text Box 62"/>
          <p:cNvSpPr txBox="1">
            <a:spLocks noChangeArrowheads="1"/>
          </p:cNvSpPr>
          <p:nvPr/>
        </p:nvSpPr>
        <p:spPr bwMode="gray">
          <a:xfrm>
            <a:off x="2987824" y="3635732"/>
            <a:ext cx="11453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接入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Text Box 63"/>
          <p:cNvSpPr txBox="1">
            <a:spLocks noChangeArrowheads="1"/>
          </p:cNvSpPr>
          <p:nvPr/>
        </p:nvSpPr>
        <p:spPr bwMode="gray">
          <a:xfrm>
            <a:off x="4881413" y="3501008"/>
            <a:ext cx="1274763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研发</a:t>
            </a:r>
            <a:endParaRPr lang="en-US" altLang="zh-CN" sz="1800" b="1" dirty="0" smtClean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 Box 64"/>
          <p:cNvSpPr txBox="1">
            <a:spLocks noChangeArrowheads="1"/>
          </p:cNvSpPr>
          <p:nvPr/>
        </p:nvSpPr>
        <p:spPr bwMode="gray">
          <a:xfrm>
            <a:off x="6884996" y="3467661"/>
            <a:ext cx="1303337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0650" indent="-1206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批量排产</a:t>
            </a:r>
            <a:endParaRPr lang="en-US" altLang="zh-CN" sz="1800" b="1" dirty="0" smtClean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zh-CN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800" b="1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线</a:t>
            </a:r>
            <a:endParaRPr lang="en-US" altLang="zh-CN" sz="1800" b="1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Line 65"/>
          <p:cNvSpPr>
            <a:spLocks noChangeShapeType="1"/>
          </p:cNvSpPr>
          <p:nvPr/>
        </p:nvSpPr>
        <p:spPr bwMode="gray">
          <a:xfrm>
            <a:off x="7480300" y="28702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8" name="Line 66"/>
          <p:cNvSpPr>
            <a:spLocks noChangeShapeType="1"/>
          </p:cNvSpPr>
          <p:nvPr/>
        </p:nvSpPr>
        <p:spPr bwMode="gray">
          <a:xfrm flipH="1">
            <a:off x="6616700" y="2868613"/>
            <a:ext cx="163195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9" name="Line 68"/>
          <p:cNvSpPr>
            <a:spLocks noChangeShapeType="1"/>
          </p:cNvSpPr>
          <p:nvPr/>
        </p:nvSpPr>
        <p:spPr bwMode="gray">
          <a:xfrm>
            <a:off x="3581400" y="28702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Line 69"/>
          <p:cNvSpPr>
            <a:spLocks noChangeShapeType="1"/>
          </p:cNvSpPr>
          <p:nvPr/>
        </p:nvSpPr>
        <p:spPr bwMode="gray">
          <a:xfrm flipH="1">
            <a:off x="2657475" y="2868613"/>
            <a:ext cx="177165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Line 71"/>
          <p:cNvSpPr>
            <a:spLocks noChangeShapeType="1"/>
          </p:cNvSpPr>
          <p:nvPr/>
        </p:nvSpPr>
        <p:spPr bwMode="gray">
          <a:xfrm>
            <a:off x="5495925" y="4445000"/>
            <a:ext cx="0" cy="33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Line 72"/>
          <p:cNvSpPr>
            <a:spLocks noChangeShapeType="1"/>
          </p:cNvSpPr>
          <p:nvPr/>
        </p:nvSpPr>
        <p:spPr bwMode="gray">
          <a:xfrm flipH="1">
            <a:off x="4684713" y="4779963"/>
            <a:ext cx="158750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3" name="Group 74"/>
          <p:cNvGrpSpPr>
            <a:grpSpLocks/>
          </p:cNvGrpSpPr>
          <p:nvPr/>
        </p:nvGrpSpPr>
        <p:grpSpPr bwMode="auto">
          <a:xfrm>
            <a:off x="0" y="3184525"/>
            <a:ext cx="9144000" cy="1254125"/>
            <a:chOff x="0" y="2006"/>
            <a:chExt cx="5760" cy="790"/>
          </a:xfrm>
        </p:grpSpPr>
        <p:sp>
          <p:nvSpPr>
            <p:cNvPr id="74" name="Line 75"/>
            <p:cNvSpPr>
              <a:spLocks noChangeShapeType="1"/>
            </p:cNvSpPr>
            <p:nvPr/>
          </p:nvSpPr>
          <p:spPr bwMode="gray">
            <a:xfrm flipH="1">
              <a:off x="0" y="2405"/>
              <a:ext cx="652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Line 76"/>
            <p:cNvSpPr>
              <a:spLocks noChangeShapeType="1"/>
            </p:cNvSpPr>
            <p:nvPr/>
          </p:nvSpPr>
          <p:spPr bwMode="gray">
            <a:xfrm flipH="1">
              <a:off x="3839" y="2405"/>
              <a:ext cx="510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Arc 77"/>
            <p:cNvSpPr>
              <a:spLocks/>
            </p:cNvSpPr>
            <p:nvPr/>
          </p:nvSpPr>
          <p:spPr bwMode="gray">
            <a:xfrm rot="16200000" flipV="1">
              <a:off x="2052" y="1833"/>
              <a:ext cx="412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Arc 78"/>
            <p:cNvSpPr>
              <a:spLocks/>
            </p:cNvSpPr>
            <p:nvPr/>
          </p:nvSpPr>
          <p:spPr bwMode="gray">
            <a:xfrm rot="16200000" flipV="1">
              <a:off x="4503" y="1833"/>
              <a:ext cx="418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Line 79"/>
            <p:cNvSpPr>
              <a:spLocks noChangeShapeType="1"/>
            </p:cNvSpPr>
            <p:nvPr/>
          </p:nvSpPr>
          <p:spPr bwMode="gray">
            <a:xfrm flipH="1">
              <a:off x="2619" y="2405"/>
              <a:ext cx="496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Arc 80"/>
            <p:cNvSpPr>
              <a:spLocks/>
            </p:cNvSpPr>
            <p:nvPr/>
          </p:nvSpPr>
          <p:spPr bwMode="gray">
            <a:xfrm rot="5400000">
              <a:off x="3278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Line 81"/>
            <p:cNvSpPr>
              <a:spLocks noChangeShapeType="1"/>
            </p:cNvSpPr>
            <p:nvPr/>
          </p:nvSpPr>
          <p:spPr bwMode="gray">
            <a:xfrm flipH="1">
              <a:off x="5071" y="2405"/>
              <a:ext cx="689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Line 82"/>
            <p:cNvSpPr>
              <a:spLocks noChangeShapeType="1"/>
            </p:cNvSpPr>
            <p:nvPr/>
          </p:nvSpPr>
          <p:spPr bwMode="gray">
            <a:xfrm flipH="1">
              <a:off x="1377" y="2405"/>
              <a:ext cx="523" cy="0"/>
            </a:xfrm>
            <a:prstGeom prst="line">
              <a:avLst/>
            </a:pr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Arc 83"/>
            <p:cNvSpPr>
              <a:spLocks/>
            </p:cNvSpPr>
            <p:nvPr/>
          </p:nvSpPr>
          <p:spPr bwMode="gray">
            <a:xfrm rot="5400000">
              <a:off x="815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rgbClr val="656591"/>
              </a:solidFill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83" name="Picture 84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913" y="3308350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85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350" y="3298825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86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925" y="3317875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87" descr="Picture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7075" y="3308350"/>
            <a:ext cx="8255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TextBox 86"/>
          <p:cNvSpPr txBox="1"/>
          <p:nvPr/>
        </p:nvSpPr>
        <p:spPr>
          <a:xfrm>
            <a:off x="811907" y="4869160"/>
            <a:ext cx="1743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确定合作意向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讨论合作方式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划合作目标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411760" y="2134597"/>
            <a:ext cx="2673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者按照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接入标准接入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4680396" y="4941168"/>
            <a:ext cx="1783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厂家研制新品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产品性能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6644555" y="1844824"/>
            <a:ext cx="19525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定排产计划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确定上线时间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创建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热</a:t>
            </a:r>
            <a:endParaRPr lang="en-US" altLang="zh-CN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55953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16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395536" y="260648"/>
            <a:ext cx="36004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服务端研发实施</a:t>
            </a:r>
            <a:endParaRPr lang="zh-CN" altLang="en-US" sz="1800" dirty="0"/>
          </a:p>
        </p:txBody>
      </p:sp>
      <p:sp>
        <p:nvSpPr>
          <p:cNvPr id="36" name="文本占位符 5"/>
          <p:cNvSpPr txBox="1">
            <a:spLocks/>
          </p:cNvSpPr>
          <p:nvPr/>
        </p:nvSpPr>
        <p:spPr>
          <a:xfrm>
            <a:off x="457199" y="1535113"/>
            <a:ext cx="4187825" cy="63976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服务</a:t>
            </a:r>
            <a:r>
              <a:rPr lang="zh-CN" altLang="en-US" dirty="0" smtClean="0"/>
              <a:t>端研发生命周期</a:t>
            </a:r>
            <a:endParaRPr lang="zh-CN" altLang="en-US" dirty="0"/>
          </a:p>
        </p:txBody>
      </p:sp>
      <p:graphicFrame>
        <p:nvGraphicFramePr>
          <p:cNvPr id="37" name="内容占位符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3369972"/>
              </p:ext>
            </p:extLst>
          </p:nvPr>
        </p:nvGraphicFramePr>
        <p:xfrm>
          <a:off x="457200" y="2174875"/>
          <a:ext cx="4040188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文本占位符 6"/>
          <p:cNvSpPr txBox="1">
            <a:spLocks/>
          </p:cNvSpPr>
          <p:nvPr/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mtClean="0"/>
              <a:t>团队再细分</a:t>
            </a:r>
            <a:endParaRPr lang="zh-CN" altLang="en-US" dirty="0"/>
          </a:p>
        </p:txBody>
      </p:sp>
      <p:graphicFrame>
        <p:nvGraphicFramePr>
          <p:cNvPr id="39" name="内容占位符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3382932"/>
              </p:ext>
            </p:extLst>
          </p:nvPr>
        </p:nvGraphicFramePr>
        <p:xfrm>
          <a:off x="4645025" y="2174874"/>
          <a:ext cx="4175447" cy="4062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70249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标题 1"/>
          <p:cNvSpPr txBox="1">
            <a:spLocks/>
          </p:cNvSpPr>
          <p:nvPr/>
        </p:nvSpPr>
        <p:spPr>
          <a:xfrm>
            <a:off x="395536" y="260648"/>
            <a:ext cx="36004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服务端研发实施</a:t>
            </a:r>
            <a:endParaRPr lang="zh-CN" altLang="en-US" sz="1800" dirty="0"/>
          </a:p>
        </p:txBody>
      </p:sp>
      <p:sp>
        <p:nvSpPr>
          <p:cNvPr id="3" name="TextBox 2"/>
          <p:cNvSpPr txBox="1"/>
          <p:nvPr/>
        </p:nvSpPr>
        <p:spPr>
          <a:xfrm>
            <a:off x="971600" y="1340768"/>
            <a:ext cx="1415772" cy="461665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rtlCol="0">
            <a:spAutoFit/>
          </a:bodyPr>
          <a:lstStyle/>
          <a:p>
            <a:r>
              <a:rPr lang="zh-CN" altLang="en-US" sz="2400" dirty="0"/>
              <a:t>当前</a:t>
            </a:r>
            <a:r>
              <a:rPr lang="zh-CN" altLang="en-US" sz="2400" dirty="0"/>
              <a:t>阶段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619672" y="2132856"/>
            <a:ext cx="508985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处于产品分析和架构与设计的阶段</a:t>
            </a:r>
            <a:endParaRPr lang="en-US" altLang="zh-CN" sz="2400" dirty="0"/>
          </a:p>
          <a:p>
            <a:pPr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原型和技术难点的选型与攻关阶段</a:t>
            </a:r>
            <a:endParaRPr lang="zh-CN" altLang="en-US" sz="2400" dirty="0"/>
          </a:p>
        </p:txBody>
      </p:sp>
      <p:sp>
        <p:nvSpPr>
          <p:cNvPr id="10" name="TextBox 9"/>
          <p:cNvSpPr txBox="1"/>
          <p:nvPr/>
        </p:nvSpPr>
        <p:spPr>
          <a:xfrm>
            <a:off x="969492" y="3759423"/>
            <a:ext cx="2339102" cy="461665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rtlCol="0">
            <a:spAutoFit/>
          </a:bodyPr>
          <a:lstStyle/>
          <a:p>
            <a:r>
              <a:rPr lang="zh-CN" altLang="en-US" sz="2400" dirty="0" smtClean="0"/>
              <a:t>研发实施的思考</a:t>
            </a:r>
            <a:endParaRPr lang="zh-CN" altLang="en-US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1715344" y="4437112"/>
            <a:ext cx="724429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充分利用公司现有资源，并</a:t>
            </a:r>
            <a:r>
              <a:rPr lang="zh-CN" altLang="en-US" sz="2400" b="1" dirty="0" smtClean="0"/>
              <a:t>有效对接</a:t>
            </a:r>
            <a:endParaRPr lang="en-US" altLang="zh-CN" sz="2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支持并完成智联网设备</a:t>
            </a:r>
            <a:r>
              <a:rPr lang="zh-CN" altLang="en-US" sz="2400" b="1" dirty="0" smtClean="0"/>
              <a:t>特有</a:t>
            </a:r>
            <a:r>
              <a:rPr lang="zh-CN" altLang="en-US" sz="2400" dirty="0" smtClean="0"/>
              <a:t>的需求</a:t>
            </a:r>
            <a:endParaRPr lang="en-US" altLang="zh-CN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对公司已有资源，且不满足需求的，进行</a:t>
            </a:r>
            <a:r>
              <a:rPr lang="zh-CN" altLang="en-US" sz="2400" b="1" dirty="0" smtClean="0"/>
              <a:t>迭代升级</a:t>
            </a:r>
            <a:endParaRPr lang="zh-CN" alt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310173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23728" y="2489976"/>
            <a:ext cx="44486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600" b="1" dirty="0" smtClean="0">
                <a:solidFill>
                  <a:srgbClr val="0070C0"/>
                </a:solidFill>
                <a:latin typeface="+mj-ea"/>
                <a:ea typeface="+mj-ea"/>
              </a:rPr>
              <a:t>Thanks All</a:t>
            </a:r>
            <a:endParaRPr lang="zh-CN" altLang="en-US" sz="6600" b="1" dirty="0" smtClean="0">
              <a:solidFill>
                <a:srgbClr val="0070C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392592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467544" y="976285"/>
            <a:ext cx="8154652" cy="5813089"/>
            <a:chOff x="592422" y="771550"/>
            <a:chExt cx="8280920" cy="4371950"/>
          </a:xfrm>
        </p:grpSpPr>
        <p:graphicFrame>
          <p:nvGraphicFramePr>
            <p:cNvPr id="2" name="图示 1"/>
            <p:cNvGraphicFramePr/>
            <p:nvPr>
              <p:extLst>
                <p:ext uri="{D42A27DB-BD31-4B8C-83A1-F6EECF244321}">
                  <p14:modId xmlns:p14="http://schemas.microsoft.com/office/powerpoint/2010/main" val="1396469276"/>
                </p:ext>
              </p:extLst>
            </p:nvPr>
          </p:nvGraphicFramePr>
          <p:xfrm>
            <a:off x="592422" y="771550"/>
            <a:ext cx="8280920" cy="43719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cxnSp>
          <p:nvCxnSpPr>
            <p:cNvPr id="10" name="直接连接符 9"/>
            <p:cNvCxnSpPr/>
            <p:nvPr/>
          </p:nvCxnSpPr>
          <p:spPr>
            <a:xfrm>
              <a:off x="5828672" y="2528515"/>
              <a:ext cx="222174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京东率先推出全产业链的智能硬件云服务</a:t>
            </a:r>
            <a:endParaRPr lang="zh-CN" altLang="en-US" sz="1800" dirty="0"/>
          </a:p>
        </p:txBody>
      </p:sp>
      <p:sp>
        <p:nvSpPr>
          <p:cNvPr id="46" name="云形 100"/>
          <p:cNvSpPr/>
          <p:nvPr/>
        </p:nvSpPr>
        <p:spPr>
          <a:xfrm>
            <a:off x="3707903" y="5229200"/>
            <a:ext cx="1656185" cy="902765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设备管理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923928" y="6213309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京东</a:t>
            </a:r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智</a:t>
            </a:r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联网</a:t>
            </a:r>
            <a:endParaRPr lang="zh-CN" alt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956376" y="3656057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接入接出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71743" y="3645024"/>
            <a:ext cx="9438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硬件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厂商</a:t>
            </a:r>
          </a:p>
        </p:txBody>
      </p:sp>
      <p:pic>
        <p:nvPicPr>
          <p:cNvPr id="4098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354037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093348" y="1598603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互</a:t>
            </a:r>
          </a:p>
        </p:txBody>
      </p:sp>
      <p:pic>
        <p:nvPicPr>
          <p:cNvPr id="4100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97642" y="4218938"/>
            <a:ext cx="1152128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3203848" y="450912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收集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074173" y="4581128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102" name="Picture 6" descr="C:\Users\Administrator\Desktop\dribbbl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66" y="2996952"/>
            <a:ext cx="691886" cy="586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D:\工作文件\通用\发布会PPT\kaifa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2996952"/>
            <a:ext cx="576064" cy="588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87872" y="1380815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5598525" y="2060848"/>
            <a:ext cx="7736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67444" y="1607538"/>
            <a:ext cx="8083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呈现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364088" y="4249135"/>
            <a:ext cx="1278435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6444208" y="4550931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云形 100"/>
          <p:cNvSpPr/>
          <p:nvPr/>
        </p:nvSpPr>
        <p:spPr>
          <a:xfrm>
            <a:off x="5940152" y="5249008"/>
            <a:ext cx="2007826" cy="86409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 云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计算</a:t>
            </a:r>
            <a:r>
              <a:rPr lang="en-US" altLang="zh-CN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/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云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托管</a:t>
            </a:r>
            <a:r>
              <a:rPr lang="en-US" altLang="zh-CN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/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云存储</a:t>
            </a:r>
            <a:endParaRPr lang="en-US" altLang="zh-CN" sz="1200" i="0" u="none" strike="noStrike" kern="1200" cap="none" spc="0" baseline="0" dirty="0" smtClean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45" name="云形 104"/>
          <p:cNvSpPr/>
          <p:nvPr/>
        </p:nvSpPr>
        <p:spPr>
          <a:xfrm>
            <a:off x="1259632" y="5229200"/>
            <a:ext cx="1584176" cy="90415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网络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安全</a:t>
            </a:r>
            <a:r>
              <a:rPr lang="en-US" altLang="zh-CN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/ 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数据挖掘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004048" y="4478923"/>
            <a:ext cx="10326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altLang="zh-CN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数据开放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707778" y="2183958"/>
            <a:ext cx="8083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取数据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0587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b="1" dirty="0"/>
              <a:t>京东智联愿景</a:t>
            </a:r>
            <a:r>
              <a:rPr lang="en-US" altLang="zh-CN" sz="1800" dirty="0"/>
              <a:t>:</a:t>
            </a:r>
            <a:r>
              <a:rPr lang="zh-CN" altLang="en-US" sz="1800" dirty="0"/>
              <a:t>万物互联的</a:t>
            </a:r>
            <a:r>
              <a:rPr lang="zh-CN" altLang="en-US" sz="1800" dirty="0" smtClean="0"/>
              <a:t>大脑</a:t>
            </a:r>
            <a:r>
              <a:rPr lang="zh-CN" altLang="en-US" sz="1800" dirty="0"/>
              <a:t>和心脏</a:t>
            </a:r>
          </a:p>
        </p:txBody>
      </p:sp>
      <p:cxnSp>
        <p:nvCxnSpPr>
          <p:cNvPr id="15" name="Straight Connector 5"/>
          <p:cNvCxnSpPr>
            <a:stCxn id="156" idx="2"/>
            <a:endCxn id="154" idx="3"/>
          </p:cNvCxnSpPr>
          <p:nvPr/>
        </p:nvCxnSpPr>
        <p:spPr>
          <a:xfrm flipH="1">
            <a:off x="806191" y="2653023"/>
            <a:ext cx="1079283" cy="118263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6"/>
          <p:cNvCxnSpPr>
            <a:stCxn id="156" idx="3"/>
          </p:cNvCxnSpPr>
          <p:nvPr/>
        </p:nvCxnSpPr>
        <p:spPr>
          <a:xfrm>
            <a:off x="2955105" y="2221121"/>
            <a:ext cx="1026657" cy="189916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7"/>
          <p:cNvCxnSpPr/>
          <p:nvPr/>
        </p:nvCxnSpPr>
        <p:spPr>
          <a:xfrm flipV="1">
            <a:off x="2081648" y="2221121"/>
            <a:ext cx="1607443" cy="4051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8"/>
          <p:cNvGrpSpPr/>
          <p:nvPr/>
        </p:nvGrpSpPr>
        <p:grpSpPr>
          <a:xfrm>
            <a:off x="4450347" y="1132510"/>
            <a:ext cx="4257624" cy="2867962"/>
            <a:chOff x="2769276" y="1671315"/>
            <a:chExt cx="6933439" cy="4670410"/>
          </a:xfrm>
        </p:grpSpPr>
        <p:cxnSp>
          <p:nvCxnSpPr>
            <p:cNvPr id="27" name="Straight Connector 9"/>
            <p:cNvCxnSpPr/>
            <p:nvPr/>
          </p:nvCxnSpPr>
          <p:spPr>
            <a:xfrm flipH="1" flipV="1">
              <a:off x="4059096" y="5705424"/>
              <a:ext cx="681245" cy="21914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0"/>
            <p:cNvCxnSpPr/>
            <p:nvPr/>
          </p:nvCxnSpPr>
          <p:spPr>
            <a:xfrm flipH="1" flipV="1">
              <a:off x="3065501" y="5173413"/>
              <a:ext cx="424061" cy="29809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1"/>
            <p:cNvCxnSpPr/>
            <p:nvPr/>
          </p:nvCxnSpPr>
          <p:spPr>
            <a:xfrm flipH="1" flipV="1">
              <a:off x="2859177" y="3781790"/>
              <a:ext cx="33781" cy="81438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2"/>
            <p:cNvCxnSpPr/>
            <p:nvPr/>
          </p:nvCxnSpPr>
          <p:spPr>
            <a:xfrm flipH="1">
              <a:off x="2794007" y="2986991"/>
              <a:ext cx="199111" cy="734687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3"/>
            <p:cNvCxnSpPr/>
            <p:nvPr/>
          </p:nvCxnSpPr>
          <p:spPr>
            <a:xfrm flipV="1">
              <a:off x="3910023" y="2162177"/>
              <a:ext cx="645062" cy="263388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"/>
            <p:cNvCxnSpPr/>
            <p:nvPr/>
          </p:nvCxnSpPr>
          <p:spPr>
            <a:xfrm>
              <a:off x="5076496" y="2108510"/>
              <a:ext cx="713116" cy="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5"/>
            <p:cNvCxnSpPr/>
            <p:nvPr/>
          </p:nvCxnSpPr>
          <p:spPr>
            <a:xfrm>
              <a:off x="6228053" y="2070026"/>
              <a:ext cx="849846" cy="19654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6"/>
            <p:cNvCxnSpPr>
              <a:endCxn id="132" idx="0"/>
            </p:cNvCxnSpPr>
            <p:nvPr/>
          </p:nvCxnSpPr>
          <p:spPr>
            <a:xfrm>
              <a:off x="7925961" y="2459255"/>
              <a:ext cx="1318260" cy="841099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8"/>
            <p:cNvCxnSpPr>
              <a:stCxn id="133" idx="2"/>
            </p:cNvCxnSpPr>
            <p:nvPr/>
          </p:nvCxnSpPr>
          <p:spPr>
            <a:xfrm flipH="1">
              <a:off x="9144390" y="3876470"/>
              <a:ext cx="99830" cy="1174358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9"/>
            <p:cNvCxnSpPr/>
            <p:nvPr/>
          </p:nvCxnSpPr>
          <p:spPr>
            <a:xfrm flipH="1">
              <a:off x="7660801" y="5398886"/>
              <a:ext cx="1294874" cy="46731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20"/>
            <p:cNvCxnSpPr/>
            <p:nvPr/>
          </p:nvCxnSpPr>
          <p:spPr>
            <a:xfrm flipH="1">
              <a:off x="6778561" y="5866204"/>
              <a:ext cx="694526" cy="5836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1"/>
            <p:cNvCxnSpPr/>
            <p:nvPr/>
          </p:nvCxnSpPr>
          <p:spPr>
            <a:xfrm flipH="1">
              <a:off x="5101361" y="5924569"/>
              <a:ext cx="717713" cy="3679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29"/>
            <p:cNvCxnSpPr/>
            <p:nvPr/>
          </p:nvCxnSpPr>
          <p:spPr>
            <a:xfrm flipH="1" flipV="1">
              <a:off x="2947914" y="3746892"/>
              <a:ext cx="4445917" cy="1885751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32"/>
            <p:cNvCxnSpPr/>
            <p:nvPr/>
          </p:nvCxnSpPr>
          <p:spPr>
            <a:xfrm flipH="1" flipV="1">
              <a:off x="4809339" y="2621011"/>
              <a:ext cx="132330" cy="275697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33"/>
            <p:cNvCxnSpPr/>
            <p:nvPr/>
          </p:nvCxnSpPr>
          <p:spPr>
            <a:xfrm flipH="1" flipV="1">
              <a:off x="2947914" y="3746404"/>
              <a:ext cx="1993755" cy="1652482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34"/>
            <p:cNvCxnSpPr/>
            <p:nvPr/>
          </p:nvCxnSpPr>
          <p:spPr>
            <a:xfrm flipH="1" flipV="1">
              <a:off x="2947914" y="3746892"/>
              <a:ext cx="897132" cy="1629586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35"/>
            <p:cNvCxnSpPr/>
            <p:nvPr/>
          </p:nvCxnSpPr>
          <p:spPr>
            <a:xfrm flipH="1">
              <a:off x="3081804" y="2621011"/>
              <a:ext cx="1727535" cy="226409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40"/>
            <p:cNvCxnSpPr/>
            <p:nvPr/>
          </p:nvCxnSpPr>
          <p:spPr>
            <a:xfrm flipH="1" flipV="1">
              <a:off x="2947914" y="3746892"/>
              <a:ext cx="3482001" cy="189930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42"/>
            <p:cNvCxnSpPr>
              <a:stCxn id="97" idx="0"/>
            </p:cNvCxnSpPr>
            <p:nvPr/>
          </p:nvCxnSpPr>
          <p:spPr>
            <a:xfrm flipH="1" flipV="1">
              <a:off x="4809338" y="2583974"/>
              <a:ext cx="1537254" cy="3048667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44"/>
            <p:cNvCxnSpPr/>
            <p:nvPr/>
          </p:nvCxnSpPr>
          <p:spPr>
            <a:xfrm flipH="1" flipV="1">
              <a:off x="2947914" y="3746892"/>
              <a:ext cx="6196474" cy="130393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47"/>
            <p:cNvCxnSpPr/>
            <p:nvPr/>
          </p:nvCxnSpPr>
          <p:spPr>
            <a:xfrm flipV="1">
              <a:off x="3845046" y="2621011"/>
              <a:ext cx="964293" cy="275697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4" name="Picture 59" descr="Allseen-Lighting-K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5511" y="5436388"/>
              <a:ext cx="524256" cy="771144"/>
            </a:xfrm>
            <a:prstGeom prst="rect">
              <a:avLst/>
            </a:prstGeom>
            <a:noFill/>
            <a:effectLst/>
          </p:spPr>
        </p:pic>
        <p:pic>
          <p:nvPicPr>
            <p:cNvPr id="75" name="Picture 60" descr="Allseen-Appliances-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1111" y="2365852"/>
              <a:ext cx="1000714" cy="682148"/>
            </a:xfrm>
            <a:prstGeom prst="rect">
              <a:avLst/>
            </a:prstGeom>
          </p:spPr>
        </p:pic>
        <p:pic>
          <p:nvPicPr>
            <p:cNvPr id="76" name="Picture 61" descr="Allseen-DisplayTelevision-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8812" y="1893195"/>
              <a:ext cx="974780" cy="753553"/>
            </a:xfrm>
            <a:prstGeom prst="rect">
              <a:avLst/>
            </a:prstGeom>
          </p:spPr>
        </p:pic>
        <p:pic>
          <p:nvPicPr>
            <p:cNvPr id="77" name="Picture 62" descr="Allseen-Tablet-K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370" y="1746869"/>
              <a:ext cx="682752" cy="949485"/>
            </a:xfrm>
            <a:prstGeom prst="rect">
              <a:avLst/>
            </a:prstGeom>
          </p:spPr>
        </p:pic>
        <p:grpSp>
          <p:nvGrpSpPr>
            <p:cNvPr id="78" name="Group 63"/>
            <p:cNvGrpSpPr/>
            <p:nvPr/>
          </p:nvGrpSpPr>
          <p:grpSpPr>
            <a:xfrm>
              <a:off x="2769276" y="4597865"/>
              <a:ext cx="277136" cy="579880"/>
              <a:chOff x="4071434" y="1259595"/>
              <a:chExt cx="505181" cy="1202777"/>
            </a:xfrm>
          </p:grpSpPr>
          <p:grpSp>
            <p:nvGrpSpPr>
              <p:cNvPr id="139" name="Group 124"/>
              <p:cNvGrpSpPr/>
              <p:nvPr/>
            </p:nvGrpSpPr>
            <p:grpSpPr>
              <a:xfrm>
                <a:off x="4138780" y="1393528"/>
                <a:ext cx="355432" cy="968672"/>
                <a:chOff x="5920241" y="1017499"/>
                <a:chExt cx="355432" cy="968672"/>
              </a:xfrm>
            </p:grpSpPr>
            <p:sp>
              <p:nvSpPr>
                <p:cNvPr id="145" name="Rectangle 130"/>
                <p:cNvSpPr/>
                <p:nvPr/>
              </p:nvSpPr>
              <p:spPr>
                <a:xfrm>
                  <a:off x="5920241" y="1017499"/>
                  <a:ext cx="355432" cy="968672"/>
                </a:xfrm>
                <a:prstGeom prst="rect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46" name="Rectangle 131"/>
                <p:cNvSpPr/>
                <p:nvPr/>
              </p:nvSpPr>
              <p:spPr>
                <a:xfrm>
                  <a:off x="6020511" y="1163128"/>
                  <a:ext cx="174171" cy="345954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47" name="Rectangle 132"/>
                <p:cNvSpPr/>
                <p:nvPr/>
              </p:nvSpPr>
              <p:spPr>
                <a:xfrm>
                  <a:off x="6016773" y="1509082"/>
                  <a:ext cx="174171" cy="345954"/>
                </a:xfrm>
                <a:prstGeom prst="rect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40" name="Group 125"/>
              <p:cNvGrpSpPr/>
              <p:nvPr/>
            </p:nvGrpSpPr>
            <p:grpSpPr>
              <a:xfrm>
                <a:off x="4071434" y="1259595"/>
                <a:ext cx="505181" cy="1202777"/>
                <a:chOff x="4071434" y="1259595"/>
                <a:chExt cx="505181" cy="1026405"/>
              </a:xfrm>
            </p:grpSpPr>
            <p:cxnSp>
              <p:nvCxnSpPr>
                <p:cNvPr id="141" name="Straight Connector 126"/>
                <p:cNvCxnSpPr/>
                <p:nvPr/>
              </p:nvCxnSpPr>
              <p:spPr>
                <a:xfrm flipV="1">
                  <a:off x="4071434" y="2276431"/>
                  <a:ext cx="505181" cy="9569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27"/>
                <p:cNvCxnSpPr/>
                <p:nvPr/>
              </p:nvCxnSpPr>
              <p:spPr>
                <a:xfrm>
                  <a:off x="4576615" y="1259595"/>
                  <a:ext cx="0" cy="101683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Straight Connector 128"/>
                <p:cNvCxnSpPr/>
                <p:nvPr/>
              </p:nvCxnSpPr>
              <p:spPr>
                <a:xfrm>
                  <a:off x="4071434" y="1259595"/>
                  <a:ext cx="505181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29"/>
                <p:cNvCxnSpPr/>
                <p:nvPr/>
              </p:nvCxnSpPr>
              <p:spPr>
                <a:xfrm>
                  <a:off x="4071434" y="1259595"/>
                  <a:ext cx="0" cy="101683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9" name="Group 64"/>
            <p:cNvGrpSpPr/>
            <p:nvPr/>
          </p:nvGrpSpPr>
          <p:grpSpPr>
            <a:xfrm>
              <a:off x="5786352" y="1767164"/>
              <a:ext cx="460465" cy="976034"/>
              <a:chOff x="8197472" y="815445"/>
              <a:chExt cx="914401" cy="1546752"/>
            </a:xfrm>
          </p:grpSpPr>
          <p:grpSp>
            <p:nvGrpSpPr>
              <p:cNvPr id="134" name="Group 119"/>
              <p:cNvGrpSpPr/>
              <p:nvPr/>
            </p:nvGrpSpPr>
            <p:grpSpPr>
              <a:xfrm>
                <a:off x="8197472" y="815445"/>
                <a:ext cx="914401" cy="1546752"/>
                <a:chOff x="8197472" y="815445"/>
                <a:chExt cx="914401" cy="1546752"/>
              </a:xfrm>
            </p:grpSpPr>
            <p:sp>
              <p:nvSpPr>
                <p:cNvPr id="137" name="Rectangle 122"/>
                <p:cNvSpPr/>
                <p:nvPr/>
              </p:nvSpPr>
              <p:spPr>
                <a:xfrm>
                  <a:off x="8197472" y="815445"/>
                  <a:ext cx="914400" cy="45720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38" name="Rectangle 123"/>
                <p:cNvSpPr/>
                <p:nvPr/>
              </p:nvSpPr>
              <p:spPr>
                <a:xfrm>
                  <a:off x="8197472" y="1295398"/>
                  <a:ext cx="914401" cy="1066799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135" name="Rectangle 120"/>
              <p:cNvSpPr/>
              <p:nvPr/>
            </p:nvSpPr>
            <p:spPr>
              <a:xfrm flipH="1">
                <a:off x="8258493" y="838200"/>
                <a:ext cx="45719" cy="410518"/>
              </a:xfrm>
              <a:prstGeom prst="rect">
                <a:avLst/>
              </a:prstGeom>
              <a:solidFill>
                <a:schemeClr val="accent1">
                  <a:alpha val="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36" name="Rectangle 121"/>
              <p:cNvSpPr/>
              <p:nvPr/>
            </p:nvSpPr>
            <p:spPr>
              <a:xfrm>
                <a:off x="8258493" y="1371600"/>
                <a:ext cx="45719" cy="898936"/>
              </a:xfrm>
              <a:prstGeom prst="rect">
                <a:avLst/>
              </a:prstGeom>
              <a:solidFill>
                <a:schemeClr val="accent1">
                  <a:alpha val="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0" name="Group 65"/>
            <p:cNvGrpSpPr/>
            <p:nvPr/>
          </p:nvGrpSpPr>
          <p:grpSpPr>
            <a:xfrm>
              <a:off x="8888829" y="3300354"/>
              <a:ext cx="710783" cy="576116"/>
              <a:chOff x="5637212" y="2146497"/>
              <a:chExt cx="2286000" cy="1362068"/>
            </a:xfrm>
          </p:grpSpPr>
          <p:grpSp>
            <p:nvGrpSpPr>
              <p:cNvPr id="130" name="Group 115"/>
              <p:cNvGrpSpPr/>
              <p:nvPr/>
            </p:nvGrpSpPr>
            <p:grpSpPr>
              <a:xfrm>
                <a:off x="5637212" y="2146497"/>
                <a:ext cx="2286000" cy="1362068"/>
                <a:chOff x="6780212" y="-344847"/>
                <a:chExt cx="1905000" cy="1369890"/>
              </a:xfrm>
            </p:grpSpPr>
            <p:sp>
              <p:nvSpPr>
                <p:cNvPr id="132" name="Frame 117"/>
                <p:cNvSpPr/>
                <p:nvPr/>
              </p:nvSpPr>
              <p:spPr>
                <a:xfrm>
                  <a:off x="6932613" y="-344847"/>
                  <a:ext cx="1600202" cy="990601"/>
                </a:xfrm>
                <a:prstGeom prst="fram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3" name="Trapezoid 118"/>
                <p:cNvSpPr/>
                <p:nvPr/>
              </p:nvSpPr>
              <p:spPr>
                <a:xfrm>
                  <a:off x="6780212" y="491644"/>
                  <a:ext cx="1905000" cy="533399"/>
                </a:xfrm>
                <a:prstGeom prst="trapezoid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129" name="Trapezoid 114"/>
              <p:cNvSpPr/>
              <p:nvPr/>
            </p:nvSpPr>
            <p:spPr>
              <a:xfrm>
                <a:off x="5820094" y="2978212"/>
                <a:ext cx="1920237" cy="287829"/>
              </a:xfrm>
              <a:prstGeom prst="trapezoid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1" name="Group 66"/>
            <p:cNvGrpSpPr>
              <a:grpSpLocks noChangeAspect="1"/>
            </p:cNvGrpSpPr>
            <p:nvPr/>
          </p:nvGrpSpPr>
          <p:grpSpPr>
            <a:xfrm>
              <a:off x="3427869" y="5397694"/>
              <a:ext cx="761543" cy="393506"/>
              <a:chOff x="10895012" y="1905000"/>
              <a:chExt cx="1066800" cy="551239"/>
            </a:xfrm>
          </p:grpSpPr>
          <p:sp>
            <p:nvSpPr>
              <p:cNvPr id="124" name="Rounded Rectangle 109"/>
              <p:cNvSpPr/>
              <p:nvPr/>
            </p:nvSpPr>
            <p:spPr>
              <a:xfrm>
                <a:off x="10895012" y="1905000"/>
                <a:ext cx="1066800" cy="551239"/>
              </a:xfrm>
              <a:prstGeom prst="round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5" name="Isosceles Triangle 110"/>
              <p:cNvSpPr/>
              <p:nvPr/>
            </p:nvSpPr>
            <p:spPr>
              <a:xfrm flipH="1">
                <a:off x="11657008" y="1981199"/>
                <a:ext cx="228601" cy="152399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6" name="Isosceles Triangle 111"/>
              <p:cNvSpPr/>
              <p:nvPr/>
            </p:nvSpPr>
            <p:spPr>
              <a:xfrm flipH="1" flipV="1">
                <a:off x="11657010" y="2209800"/>
                <a:ext cx="228602" cy="17024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7" name="Rounded Rectangle 112"/>
              <p:cNvSpPr/>
              <p:nvPr/>
            </p:nvSpPr>
            <p:spPr>
              <a:xfrm>
                <a:off x="10971212" y="1981200"/>
                <a:ext cx="609600" cy="3810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 fontScale="92500" lnSpcReduction="10000"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tx1"/>
                    </a:solidFill>
                  </a:rPr>
                  <a:t>72°</a:t>
                </a:r>
                <a:endParaRPr lang="en-US" sz="200" dirty="0"/>
              </a:p>
            </p:txBody>
          </p:sp>
        </p:grpSp>
        <p:grpSp>
          <p:nvGrpSpPr>
            <p:cNvPr id="82" name="Group 67"/>
            <p:cNvGrpSpPr/>
            <p:nvPr/>
          </p:nvGrpSpPr>
          <p:grpSpPr>
            <a:xfrm>
              <a:off x="8228012" y="4800600"/>
              <a:ext cx="405698" cy="596592"/>
              <a:chOff x="10285412" y="4879245"/>
              <a:chExt cx="683728" cy="1140555"/>
            </a:xfrm>
          </p:grpSpPr>
          <p:sp>
            <p:nvSpPr>
              <p:cNvPr id="117" name="Rounded Rectangle 102"/>
              <p:cNvSpPr/>
              <p:nvPr/>
            </p:nvSpPr>
            <p:spPr>
              <a:xfrm>
                <a:off x="10285412" y="4879245"/>
                <a:ext cx="683728" cy="1140555"/>
              </a:xfrm>
              <a:prstGeom prst="round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118" name="Group 103"/>
              <p:cNvGrpSpPr/>
              <p:nvPr/>
            </p:nvGrpSpPr>
            <p:grpSpPr>
              <a:xfrm>
                <a:off x="10361612" y="5439338"/>
                <a:ext cx="489951" cy="504262"/>
                <a:chOff x="11014660" y="4879245"/>
                <a:chExt cx="815699" cy="880767"/>
              </a:xfrm>
            </p:grpSpPr>
            <p:sp>
              <p:nvSpPr>
                <p:cNvPr id="122" name="Donut 107"/>
                <p:cNvSpPr/>
                <p:nvPr/>
              </p:nvSpPr>
              <p:spPr>
                <a:xfrm>
                  <a:off x="11014660" y="4879245"/>
                  <a:ext cx="815699" cy="880767"/>
                </a:xfrm>
                <a:prstGeom prst="donut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Oval 108"/>
                <p:cNvSpPr/>
                <p:nvPr/>
              </p:nvSpPr>
              <p:spPr>
                <a:xfrm>
                  <a:off x="11352212" y="52578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19" name="Group 104"/>
              <p:cNvGrpSpPr/>
              <p:nvPr/>
            </p:nvGrpSpPr>
            <p:grpSpPr>
              <a:xfrm>
                <a:off x="10437812" y="4953000"/>
                <a:ext cx="337552" cy="349812"/>
                <a:chOff x="11014660" y="4879245"/>
                <a:chExt cx="815699" cy="880767"/>
              </a:xfrm>
            </p:grpSpPr>
            <p:sp>
              <p:nvSpPr>
                <p:cNvPr id="120" name="Donut 105"/>
                <p:cNvSpPr/>
                <p:nvPr/>
              </p:nvSpPr>
              <p:spPr>
                <a:xfrm>
                  <a:off x="11014660" y="4879245"/>
                  <a:ext cx="815699" cy="880767"/>
                </a:xfrm>
                <a:prstGeom prst="donu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Oval 106"/>
                <p:cNvSpPr/>
                <p:nvPr/>
              </p:nvSpPr>
              <p:spPr>
                <a:xfrm>
                  <a:off x="11352212" y="52578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grpSp>
          <p:nvGrpSpPr>
            <p:cNvPr id="83" name="Group 68"/>
            <p:cNvGrpSpPr/>
            <p:nvPr/>
          </p:nvGrpSpPr>
          <p:grpSpPr>
            <a:xfrm>
              <a:off x="8685212" y="5029200"/>
              <a:ext cx="1017503" cy="371880"/>
              <a:chOff x="10135084" y="4081828"/>
              <a:chExt cx="1598128" cy="440208"/>
            </a:xfrm>
          </p:grpSpPr>
          <p:sp>
            <p:nvSpPr>
              <p:cNvPr id="113" name="Rounded Rectangle 98"/>
              <p:cNvSpPr/>
              <p:nvPr/>
            </p:nvSpPr>
            <p:spPr>
              <a:xfrm>
                <a:off x="10135084" y="4081828"/>
                <a:ext cx="1598128" cy="440208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cxnSp>
            <p:nvCxnSpPr>
              <p:cNvPr id="114" name="Straight Connector 99"/>
              <p:cNvCxnSpPr/>
              <p:nvPr/>
            </p:nvCxnSpPr>
            <p:spPr>
              <a:xfrm>
                <a:off x="10330626" y="4196327"/>
                <a:ext cx="840000" cy="0"/>
              </a:xfrm>
              <a:prstGeom prst="line">
                <a:avLst/>
              </a:prstGeom>
              <a:ln w="57150" cmpd="sng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00"/>
              <p:cNvCxnSpPr/>
              <p:nvPr/>
            </p:nvCxnSpPr>
            <p:spPr>
              <a:xfrm flipV="1">
                <a:off x="10345057" y="4267200"/>
                <a:ext cx="626155" cy="258"/>
              </a:xfrm>
              <a:prstGeom prst="line">
                <a:avLst/>
              </a:prstGeom>
              <a:ln>
                <a:solidFill>
                  <a:srgbClr val="FFFFFF"/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Donut 101"/>
              <p:cNvSpPr/>
              <p:nvPr/>
            </p:nvSpPr>
            <p:spPr>
              <a:xfrm>
                <a:off x="11504612" y="4267200"/>
                <a:ext cx="152400" cy="139687"/>
              </a:xfrm>
              <a:prstGeom prst="donut">
                <a:avLst>
                  <a:gd name="adj" fmla="val 9277"/>
                </a:avLst>
              </a:prstGeom>
              <a:ln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4" name="Group 69"/>
            <p:cNvGrpSpPr/>
            <p:nvPr/>
          </p:nvGrpSpPr>
          <p:grpSpPr>
            <a:xfrm>
              <a:off x="4305224" y="1671315"/>
              <a:ext cx="325477" cy="233685"/>
              <a:chOff x="5197623" y="5404504"/>
              <a:chExt cx="325477" cy="233685"/>
            </a:xfrm>
          </p:grpSpPr>
          <p:sp>
            <p:nvSpPr>
              <p:cNvPr id="110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11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12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6" name="Group 71"/>
            <p:cNvGrpSpPr/>
            <p:nvPr/>
          </p:nvGrpSpPr>
          <p:grpSpPr>
            <a:xfrm>
              <a:off x="5540335" y="5404504"/>
              <a:ext cx="325477" cy="233685"/>
              <a:chOff x="5197623" y="5404504"/>
              <a:chExt cx="325477" cy="233685"/>
            </a:xfrm>
          </p:grpSpPr>
          <p:sp>
            <p:nvSpPr>
              <p:cNvPr id="104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5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6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92" name="Group 77"/>
            <p:cNvGrpSpPr/>
            <p:nvPr/>
          </p:nvGrpSpPr>
          <p:grpSpPr>
            <a:xfrm>
              <a:off x="5837689" y="5632640"/>
              <a:ext cx="1018723" cy="709085"/>
              <a:chOff x="5837689" y="5632640"/>
              <a:chExt cx="1018723" cy="709085"/>
            </a:xfrm>
          </p:grpSpPr>
          <p:grpSp>
            <p:nvGrpSpPr>
              <p:cNvPr id="93" name="Group 78"/>
              <p:cNvGrpSpPr/>
              <p:nvPr/>
            </p:nvGrpSpPr>
            <p:grpSpPr>
              <a:xfrm>
                <a:off x="5837689" y="5632640"/>
                <a:ext cx="1018723" cy="709085"/>
                <a:chOff x="5942012" y="5681119"/>
                <a:chExt cx="1092646" cy="567282"/>
              </a:xfrm>
            </p:grpSpPr>
            <p:sp>
              <p:nvSpPr>
                <p:cNvPr id="95" name="TextBox 94"/>
                <p:cNvSpPr txBox="1"/>
                <p:nvPr/>
              </p:nvSpPr>
              <p:spPr>
                <a:xfrm>
                  <a:off x="6399212" y="5757320"/>
                  <a:ext cx="635446" cy="491081"/>
                </a:xfrm>
                <a:prstGeom prst="rect">
                  <a:avLst/>
                </a:prstGeom>
                <a:noFill/>
              </p:spPr>
              <p:txBody>
                <a:bodyPr wrap="none" rtlCol="0">
                  <a:normAutofit lnSpcReduction="10000"/>
                </a:bodyPr>
                <a:lstStyle/>
                <a:p>
                  <a:pPr algn="ctr"/>
                  <a:r>
                    <a:rPr lang="en-US" sz="1000" b="1" dirty="0" smtClean="0"/>
                    <a:t>120</a:t>
                  </a:r>
                </a:p>
                <a:p>
                  <a:pPr algn="ctr"/>
                  <a:r>
                    <a:rPr lang="en-US" sz="1000" b="1" dirty="0" smtClean="0"/>
                    <a:t>80</a:t>
                  </a:r>
                  <a:endParaRPr lang="en-US" sz="1000" b="1" dirty="0"/>
                </a:p>
              </p:txBody>
            </p:sp>
            <p:pic>
              <p:nvPicPr>
                <p:cNvPr id="96" name="Picture 81"/>
                <p:cNvPicPr>
                  <a:picLocks noChangeAspect="1"/>
                </p:cNvPicPr>
                <p:nvPr/>
              </p:nvPicPr>
              <p:blipFill rotWithShape="1"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backgroundRemoval t="19444" b="81944" l="18056" r="79861">
                              <a14:foregroundMark x1="51389" y1="61111" x2="51389" y2="61111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rcRect l="10851" t="13496" r="11892" b="21295"/>
                <a:stretch/>
              </p:blipFill>
              <p:spPr>
                <a:xfrm>
                  <a:off x="6069553" y="5757319"/>
                  <a:ext cx="533400" cy="450213"/>
                </a:xfrm>
                <a:prstGeom prst="rect">
                  <a:avLst/>
                </a:prstGeom>
              </p:spPr>
            </p:pic>
            <p:sp>
              <p:nvSpPr>
                <p:cNvPr id="97" name="Frame 82"/>
                <p:cNvSpPr/>
                <p:nvPr/>
              </p:nvSpPr>
              <p:spPr>
                <a:xfrm>
                  <a:off x="5942012" y="5681119"/>
                  <a:ext cx="1091659" cy="567281"/>
                </a:xfrm>
                <a:prstGeom prst="fram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>
                  <a:normAutofit lnSpcReduction="10000"/>
                </a:bodyPr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94" name="Straight Connector 79"/>
              <p:cNvCxnSpPr/>
              <p:nvPr/>
            </p:nvCxnSpPr>
            <p:spPr>
              <a:xfrm>
                <a:off x="6453914" y="5987182"/>
                <a:ext cx="24715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83" name="Straight Connector 42"/>
            <p:cNvCxnSpPr>
              <a:stCxn id="97" idx="0"/>
              <a:endCxn id="138" idx="2"/>
            </p:cNvCxnSpPr>
            <p:nvPr/>
          </p:nvCxnSpPr>
          <p:spPr>
            <a:xfrm flipH="1" flipV="1">
              <a:off x="6016584" y="2743198"/>
              <a:ext cx="330007" cy="2889442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29"/>
            <p:cNvCxnSpPr>
              <a:stCxn id="76" idx="2"/>
            </p:cNvCxnSpPr>
            <p:nvPr/>
          </p:nvCxnSpPr>
          <p:spPr>
            <a:xfrm flipH="1">
              <a:off x="2909001" y="2646748"/>
              <a:ext cx="4587201" cy="107940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8" name="Picture 133" descr="Allseen-SmartPhone-K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761" y="3383803"/>
            <a:ext cx="308829" cy="561506"/>
          </a:xfrm>
          <a:prstGeom prst="rect">
            <a:avLst/>
          </a:prstGeom>
        </p:spPr>
      </p:pic>
      <p:grpSp>
        <p:nvGrpSpPr>
          <p:cNvPr id="149" name="Group 134"/>
          <p:cNvGrpSpPr/>
          <p:nvPr/>
        </p:nvGrpSpPr>
        <p:grpSpPr>
          <a:xfrm>
            <a:off x="3833762" y="5389808"/>
            <a:ext cx="650646" cy="650646"/>
            <a:chOff x="1803960" y="4917101"/>
            <a:chExt cx="847649" cy="847649"/>
          </a:xfrm>
          <a:effectLst/>
        </p:grpSpPr>
        <p:pic>
          <p:nvPicPr>
            <p:cNvPr id="150" name="Picture 13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3960" y="4917101"/>
              <a:ext cx="847649" cy="847649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51" name="Picture 136" descr="Allseen-WifiAccess-K.pn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2614" y="4997092"/>
              <a:ext cx="222499" cy="226184"/>
            </a:xfrm>
            <a:prstGeom prst="rect">
              <a:avLst/>
            </a:prstGeom>
            <a:effectLst>
              <a:glow>
                <a:schemeClr val="bg1">
                  <a:alpha val="75000"/>
                </a:schemeClr>
              </a:glow>
            </a:effectLst>
          </p:spPr>
        </p:pic>
      </p:grpSp>
      <p:grpSp>
        <p:nvGrpSpPr>
          <p:cNvPr id="152" name="Group 137"/>
          <p:cNvGrpSpPr/>
          <p:nvPr/>
        </p:nvGrpSpPr>
        <p:grpSpPr>
          <a:xfrm>
            <a:off x="402317" y="3748848"/>
            <a:ext cx="403874" cy="671176"/>
            <a:chOff x="903465" y="4829067"/>
            <a:chExt cx="526159" cy="874395"/>
          </a:xfrm>
        </p:grpSpPr>
        <p:pic>
          <p:nvPicPr>
            <p:cNvPr id="153" name="Picture 138" descr="Allseen-SmartPhone-K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465" y="4971942"/>
              <a:ext cx="402336" cy="731520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pic>
        <p:pic>
          <p:nvPicPr>
            <p:cNvPr id="154" name="Picture 139" descr="Allseen-WifiAccess-K.pn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125" y="4829067"/>
              <a:ext cx="222499" cy="226184"/>
            </a:xfrm>
            <a:prstGeom prst="rect">
              <a:avLst/>
            </a:prstGeom>
            <a:effectLst/>
          </p:spPr>
        </p:pic>
      </p:grpSp>
      <p:pic>
        <p:nvPicPr>
          <p:cNvPr id="156" name="Picture 14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5843" y="1789218"/>
            <a:ext cx="2139262" cy="863805"/>
          </a:xfrm>
          <a:prstGeom prst="rect">
            <a:avLst/>
          </a:prstGeom>
          <a:effectLst>
            <a:glow rad="50800">
              <a:schemeClr val="accent5">
                <a:lumMod val="40000"/>
                <a:lumOff val="60000"/>
                <a:alpha val="88000"/>
              </a:schemeClr>
            </a:glow>
          </a:effectLst>
        </p:spPr>
      </p:pic>
      <p:cxnSp>
        <p:nvCxnSpPr>
          <p:cNvPr id="157" name="Straight Connector 146"/>
          <p:cNvCxnSpPr>
            <a:stCxn id="156" idx="2"/>
            <a:endCxn id="150" idx="0"/>
          </p:cNvCxnSpPr>
          <p:nvPr/>
        </p:nvCxnSpPr>
        <p:spPr>
          <a:xfrm>
            <a:off x="1885474" y="2653023"/>
            <a:ext cx="2273611" cy="273678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8" name="Picture 147" descr="Allseen-WirelessRouter-K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447" y="1692947"/>
            <a:ext cx="1131025" cy="945466"/>
          </a:xfrm>
          <a:prstGeom prst="rect">
            <a:avLst/>
          </a:prstGeom>
          <a:effectLst/>
        </p:spPr>
      </p:pic>
      <p:sp>
        <p:nvSpPr>
          <p:cNvPr id="159" name="Rectangle 156"/>
          <p:cNvSpPr/>
          <p:nvPr/>
        </p:nvSpPr>
        <p:spPr>
          <a:xfrm>
            <a:off x="4941607" y="3502339"/>
            <a:ext cx="228600" cy="1219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TextBox 159"/>
          <p:cNvSpPr txBox="1"/>
          <p:nvPr/>
        </p:nvSpPr>
        <p:spPr>
          <a:xfrm>
            <a:off x="4881546" y="3408814"/>
            <a:ext cx="288661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800" dirty="0" smtClean="0"/>
              <a:t>72</a:t>
            </a:r>
            <a:endParaRPr lang="en-US" sz="800" dirty="0"/>
          </a:p>
        </p:txBody>
      </p:sp>
      <p:sp>
        <p:nvSpPr>
          <p:cNvPr id="161" name="TextBox 160"/>
          <p:cNvSpPr txBox="1"/>
          <p:nvPr/>
        </p:nvSpPr>
        <p:spPr>
          <a:xfrm>
            <a:off x="3689091" y="2545949"/>
            <a:ext cx="67999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Super</a:t>
            </a:r>
          </a:p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AP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730448" y="1880801"/>
            <a:ext cx="2219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 err="1" smtClean="0"/>
              <a:t>Jd</a:t>
            </a:r>
            <a:r>
              <a:rPr lang="en-US" sz="1800" dirty="0" smtClean="0"/>
              <a:t> Cloud / Managed </a:t>
            </a:r>
          </a:p>
          <a:p>
            <a:pPr algn="ctr"/>
            <a:r>
              <a:rPr lang="en-US" sz="1800" dirty="0" smtClean="0"/>
              <a:t>Services</a:t>
            </a:r>
            <a:endParaRPr lang="en-US" sz="1800" dirty="0"/>
          </a:p>
        </p:txBody>
      </p:sp>
      <p:sp>
        <p:nvSpPr>
          <p:cNvPr id="163" name="TextBox 162"/>
          <p:cNvSpPr txBox="1"/>
          <p:nvPr/>
        </p:nvSpPr>
        <p:spPr>
          <a:xfrm>
            <a:off x="5517639" y="2318697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err="1" smtClean="0"/>
              <a:t>Jd</a:t>
            </a:r>
            <a:r>
              <a:rPr lang="en-US" sz="1800" dirty="0" smtClean="0"/>
              <a:t>+ alli</a:t>
            </a:r>
            <a:r>
              <a:rPr lang="en-US" altLang="zh-CN" sz="1800" dirty="0" smtClean="0"/>
              <a:t>a</a:t>
            </a:r>
            <a:r>
              <a:rPr lang="en-US" sz="1800" dirty="0" smtClean="0"/>
              <a:t>nce</a:t>
            </a:r>
            <a:endParaRPr lang="en-US" sz="1800" dirty="0"/>
          </a:p>
        </p:txBody>
      </p:sp>
      <p:pic>
        <p:nvPicPr>
          <p:cNvPr id="164" name="Picture 147" descr="Allseen-WirelessRouter-K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588" y="3675891"/>
            <a:ext cx="839636" cy="701883"/>
          </a:xfrm>
          <a:prstGeom prst="rect">
            <a:avLst/>
          </a:prstGeom>
          <a:effectLst/>
        </p:spPr>
      </p:pic>
      <p:cxnSp>
        <p:nvCxnSpPr>
          <p:cNvPr id="165" name="直接连接符 164"/>
          <p:cNvCxnSpPr/>
          <p:nvPr/>
        </p:nvCxnSpPr>
        <p:spPr>
          <a:xfrm>
            <a:off x="4862121" y="418663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/>
          <p:cNvCxnSpPr/>
          <p:nvPr/>
        </p:nvCxnSpPr>
        <p:spPr>
          <a:xfrm>
            <a:off x="5301915" y="419233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直接连接符 166"/>
          <p:cNvCxnSpPr/>
          <p:nvPr/>
        </p:nvCxnSpPr>
        <p:spPr>
          <a:xfrm>
            <a:off x="5742150" y="419233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167"/>
          <p:cNvSpPr txBox="1"/>
          <p:nvPr/>
        </p:nvSpPr>
        <p:spPr>
          <a:xfrm>
            <a:off x="270633" y="4329876"/>
            <a:ext cx="7713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JD AP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69" name="直接连接符 168"/>
          <p:cNvCxnSpPr/>
          <p:nvPr/>
        </p:nvCxnSpPr>
        <p:spPr>
          <a:xfrm>
            <a:off x="4738232" y="508421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直接连接符 169"/>
          <p:cNvCxnSpPr/>
          <p:nvPr/>
        </p:nvCxnSpPr>
        <p:spPr>
          <a:xfrm>
            <a:off x="5178026" y="508992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直接连接符 170"/>
          <p:cNvCxnSpPr/>
          <p:nvPr/>
        </p:nvCxnSpPr>
        <p:spPr>
          <a:xfrm>
            <a:off x="5618261" y="508992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/>
          <p:cNvSpPr txBox="1"/>
          <p:nvPr/>
        </p:nvSpPr>
        <p:spPr>
          <a:xfrm>
            <a:off x="3535390" y="3586848"/>
            <a:ext cx="5139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SAP</a:t>
            </a:r>
            <a:endParaRPr lang="en-US" sz="1600" b="1" dirty="0">
              <a:solidFill>
                <a:schemeClr val="tx2"/>
              </a:solidFill>
            </a:endParaRPr>
          </a:p>
        </p:txBody>
      </p:sp>
      <p:pic>
        <p:nvPicPr>
          <p:cNvPr id="173" name="Picture 59" descr="Allseen-Lighting-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984" y="4681157"/>
            <a:ext cx="321930" cy="473537"/>
          </a:xfrm>
          <a:prstGeom prst="rect">
            <a:avLst/>
          </a:prstGeom>
          <a:noFill/>
          <a:effectLst/>
        </p:spPr>
      </p:pic>
      <p:sp>
        <p:nvSpPr>
          <p:cNvPr id="174" name="Freeform 270"/>
          <p:cNvSpPr>
            <a:spLocks/>
          </p:cNvSpPr>
          <p:nvPr/>
        </p:nvSpPr>
        <p:spPr bwMode="auto">
          <a:xfrm rot="2007806">
            <a:off x="4126413" y="4591116"/>
            <a:ext cx="187118" cy="128206"/>
          </a:xfrm>
          <a:custGeom>
            <a:avLst/>
            <a:gdLst>
              <a:gd name="T0" fmla="*/ 138 w 328"/>
              <a:gd name="T1" fmla="*/ 73 h 225"/>
              <a:gd name="T2" fmla="*/ 311 w 328"/>
              <a:gd name="T3" fmla="*/ 39 h 225"/>
              <a:gd name="T4" fmla="*/ 328 w 328"/>
              <a:gd name="T5" fmla="*/ 27 h 225"/>
              <a:gd name="T6" fmla="*/ 326 w 328"/>
              <a:gd name="T7" fmla="*/ 17 h 225"/>
              <a:gd name="T8" fmla="*/ 316 w 328"/>
              <a:gd name="T9" fmla="*/ 11 h 225"/>
              <a:gd name="T10" fmla="*/ 123 w 328"/>
              <a:gd name="T11" fmla="*/ 49 h 225"/>
              <a:gd name="T12" fmla="*/ 2 w 328"/>
              <a:gd name="T13" fmla="*/ 204 h 225"/>
              <a:gd name="T14" fmla="*/ 11 w 328"/>
              <a:gd name="T15" fmla="*/ 222 h 225"/>
              <a:gd name="T16" fmla="*/ 29 w 328"/>
              <a:gd name="T17" fmla="*/ 213 h 225"/>
              <a:gd name="T18" fmla="*/ 138 w 328"/>
              <a:gd name="T19" fmla="*/ 7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" h="225">
                <a:moveTo>
                  <a:pt x="138" y="73"/>
                </a:moveTo>
                <a:cubicBezTo>
                  <a:pt x="190" y="41"/>
                  <a:pt x="251" y="29"/>
                  <a:pt x="311" y="39"/>
                </a:cubicBezTo>
                <a:cubicBezTo>
                  <a:pt x="319" y="40"/>
                  <a:pt x="326" y="35"/>
                  <a:pt x="328" y="27"/>
                </a:cubicBezTo>
                <a:cubicBezTo>
                  <a:pt x="328" y="24"/>
                  <a:pt x="327" y="20"/>
                  <a:pt x="326" y="17"/>
                </a:cubicBezTo>
                <a:cubicBezTo>
                  <a:pt x="324" y="14"/>
                  <a:pt x="320" y="11"/>
                  <a:pt x="316" y="11"/>
                </a:cubicBezTo>
                <a:cubicBezTo>
                  <a:pt x="249" y="0"/>
                  <a:pt x="180" y="13"/>
                  <a:pt x="123" y="49"/>
                </a:cubicBezTo>
                <a:cubicBezTo>
                  <a:pt x="65" y="84"/>
                  <a:pt x="22" y="139"/>
                  <a:pt x="2" y="204"/>
                </a:cubicBezTo>
                <a:cubicBezTo>
                  <a:pt x="0" y="212"/>
                  <a:pt x="4" y="220"/>
                  <a:pt x="11" y="222"/>
                </a:cubicBezTo>
                <a:cubicBezTo>
                  <a:pt x="19" y="225"/>
                  <a:pt x="27" y="220"/>
                  <a:pt x="29" y="213"/>
                </a:cubicBezTo>
                <a:cubicBezTo>
                  <a:pt x="47" y="155"/>
                  <a:pt x="86" y="105"/>
                  <a:pt x="138" y="7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Qualcomm Office Regular" pitchFamily="34" charset="0"/>
            </a:endParaRPr>
          </a:p>
        </p:txBody>
      </p:sp>
      <p:sp>
        <p:nvSpPr>
          <p:cNvPr id="175" name="Freeform 270"/>
          <p:cNvSpPr>
            <a:spLocks/>
          </p:cNvSpPr>
          <p:nvPr/>
        </p:nvSpPr>
        <p:spPr bwMode="auto">
          <a:xfrm rot="2007806">
            <a:off x="4126413" y="4511987"/>
            <a:ext cx="187118" cy="128206"/>
          </a:xfrm>
          <a:custGeom>
            <a:avLst/>
            <a:gdLst>
              <a:gd name="T0" fmla="*/ 138 w 328"/>
              <a:gd name="T1" fmla="*/ 73 h 225"/>
              <a:gd name="T2" fmla="*/ 311 w 328"/>
              <a:gd name="T3" fmla="*/ 39 h 225"/>
              <a:gd name="T4" fmla="*/ 328 w 328"/>
              <a:gd name="T5" fmla="*/ 27 h 225"/>
              <a:gd name="T6" fmla="*/ 326 w 328"/>
              <a:gd name="T7" fmla="*/ 17 h 225"/>
              <a:gd name="T8" fmla="*/ 316 w 328"/>
              <a:gd name="T9" fmla="*/ 11 h 225"/>
              <a:gd name="T10" fmla="*/ 123 w 328"/>
              <a:gd name="T11" fmla="*/ 49 h 225"/>
              <a:gd name="T12" fmla="*/ 2 w 328"/>
              <a:gd name="T13" fmla="*/ 204 h 225"/>
              <a:gd name="T14" fmla="*/ 11 w 328"/>
              <a:gd name="T15" fmla="*/ 222 h 225"/>
              <a:gd name="T16" fmla="*/ 29 w 328"/>
              <a:gd name="T17" fmla="*/ 213 h 225"/>
              <a:gd name="T18" fmla="*/ 138 w 328"/>
              <a:gd name="T19" fmla="*/ 7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" h="225">
                <a:moveTo>
                  <a:pt x="138" y="73"/>
                </a:moveTo>
                <a:cubicBezTo>
                  <a:pt x="190" y="41"/>
                  <a:pt x="251" y="29"/>
                  <a:pt x="311" y="39"/>
                </a:cubicBezTo>
                <a:cubicBezTo>
                  <a:pt x="319" y="40"/>
                  <a:pt x="326" y="35"/>
                  <a:pt x="328" y="27"/>
                </a:cubicBezTo>
                <a:cubicBezTo>
                  <a:pt x="328" y="24"/>
                  <a:pt x="327" y="20"/>
                  <a:pt x="326" y="17"/>
                </a:cubicBezTo>
                <a:cubicBezTo>
                  <a:pt x="324" y="14"/>
                  <a:pt x="320" y="11"/>
                  <a:pt x="316" y="11"/>
                </a:cubicBezTo>
                <a:cubicBezTo>
                  <a:pt x="249" y="0"/>
                  <a:pt x="180" y="13"/>
                  <a:pt x="123" y="49"/>
                </a:cubicBezTo>
                <a:cubicBezTo>
                  <a:pt x="65" y="84"/>
                  <a:pt x="22" y="139"/>
                  <a:pt x="2" y="204"/>
                </a:cubicBezTo>
                <a:cubicBezTo>
                  <a:pt x="0" y="212"/>
                  <a:pt x="4" y="220"/>
                  <a:pt x="11" y="222"/>
                </a:cubicBezTo>
                <a:cubicBezTo>
                  <a:pt x="19" y="225"/>
                  <a:pt x="27" y="220"/>
                  <a:pt x="29" y="213"/>
                </a:cubicBezTo>
                <a:cubicBezTo>
                  <a:pt x="47" y="155"/>
                  <a:pt x="86" y="105"/>
                  <a:pt x="138" y="7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Qualcomm Office Regular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4354255" y="4679415"/>
            <a:ext cx="10711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ISV Device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77" name="Straight Connector 146"/>
          <p:cNvCxnSpPr>
            <a:stCxn id="156" idx="2"/>
            <a:endCxn id="173" idx="1"/>
          </p:cNvCxnSpPr>
          <p:nvPr/>
        </p:nvCxnSpPr>
        <p:spPr>
          <a:xfrm>
            <a:off x="1885474" y="2653023"/>
            <a:ext cx="2165510" cy="226490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37"/>
          <p:cNvGrpSpPr/>
          <p:nvPr/>
        </p:nvGrpSpPr>
        <p:grpSpPr>
          <a:xfrm>
            <a:off x="1605498" y="3757789"/>
            <a:ext cx="403874" cy="671176"/>
            <a:chOff x="903465" y="4829067"/>
            <a:chExt cx="526159" cy="874395"/>
          </a:xfrm>
        </p:grpSpPr>
        <p:pic>
          <p:nvPicPr>
            <p:cNvPr id="179" name="Picture 138" descr="Allseen-SmartPhone-K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465" y="4971942"/>
              <a:ext cx="402336" cy="731520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pic>
        <p:pic>
          <p:nvPicPr>
            <p:cNvPr id="180" name="Picture 139" descr="Allseen-WifiAccess-K.pn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125" y="4829067"/>
              <a:ext cx="222499" cy="226184"/>
            </a:xfrm>
            <a:prstGeom prst="rect">
              <a:avLst/>
            </a:prstGeom>
            <a:effectLst/>
          </p:spPr>
        </p:pic>
      </p:grpSp>
      <p:sp>
        <p:nvSpPr>
          <p:cNvPr id="181" name="TextBox 180"/>
          <p:cNvSpPr txBox="1"/>
          <p:nvPr/>
        </p:nvSpPr>
        <p:spPr>
          <a:xfrm>
            <a:off x="1398985" y="4338817"/>
            <a:ext cx="8461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ISV AP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82" name="Straight Connector 5"/>
          <p:cNvCxnSpPr>
            <a:stCxn id="156" idx="2"/>
            <a:endCxn id="179" idx="0"/>
          </p:cNvCxnSpPr>
          <p:nvPr/>
        </p:nvCxnSpPr>
        <p:spPr>
          <a:xfrm flipH="1">
            <a:off x="1759913" y="2653023"/>
            <a:ext cx="125561" cy="121443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42"/>
          <p:cNvCxnSpPr>
            <a:stCxn id="97" idx="0"/>
            <a:endCxn id="76" idx="2"/>
          </p:cNvCxnSpPr>
          <p:nvPr/>
        </p:nvCxnSpPr>
        <p:spPr>
          <a:xfrm flipV="1">
            <a:off x="6647073" y="1731495"/>
            <a:ext cx="705942" cy="1833549"/>
          </a:xfrm>
          <a:prstGeom prst="line">
            <a:avLst/>
          </a:prstGeom>
          <a:ln w="12700" cmpd="sng">
            <a:solidFill>
              <a:schemeClr val="tx1">
                <a:lumMod val="50000"/>
                <a:lumOff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42"/>
          <p:cNvCxnSpPr>
            <a:stCxn id="97" idx="0"/>
            <a:endCxn id="133" idx="1"/>
          </p:cNvCxnSpPr>
          <p:nvPr/>
        </p:nvCxnSpPr>
        <p:spPr>
          <a:xfrm flipV="1">
            <a:off x="6647073" y="2417756"/>
            <a:ext cx="1578333" cy="1147288"/>
          </a:xfrm>
          <a:prstGeom prst="line">
            <a:avLst/>
          </a:prstGeom>
          <a:ln w="12700" cmpd="sng">
            <a:solidFill>
              <a:schemeClr val="tx1">
                <a:lumMod val="50000"/>
                <a:lumOff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44"/>
          <p:cNvCxnSpPr>
            <a:stCxn id="129" idx="1"/>
          </p:cNvCxnSpPr>
          <p:nvPr/>
        </p:nvCxnSpPr>
        <p:spPr>
          <a:xfrm flipH="1">
            <a:off x="4560044" y="2386260"/>
            <a:ext cx="3692406" cy="7521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Box 194"/>
          <p:cNvSpPr txBox="1"/>
          <p:nvPr/>
        </p:nvSpPr>
        <p:spPr>
          <a:xfrm>
            <a:off x="6416511" y="4039220"/>
            <a:ext cx="4187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AP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5580112" y="890389"/>
            <a:ext cx="4187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A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98" name="Straight Connector 33"/>
          <p:cNvCxnSpPr/>
          <p:nvPr/>
        </p:nvCxnSpPr>
        <p:spPr>
          <a:xfrm flipH="1">
            <a:off x="4536150" y="1755204"/>
            <a:ext cx="1092991" cy="65564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1564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b="1" dirty="0"/>
              <a:t> </a:t>
            </a:r>
            <a:r>
              <a:rPr lang="zh-CN" altLang="en-US" sz="1800" b="1" dirty="0" smtClean="0"/>
              <a:t>服务</a:t>
            </a:r>
            <a:r>
              <a:rPr lang="zh-CN" altLang="en-US" sz="1800" b="1" dirty="0" smtClean="0"/>
              <a:t>端的需求</a:t>
            </a:r>
            <a:endParaRPr lang="zh-CN" altLang="en-US" sz="18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755576" y="1268760"/>
            <a:ext cx="7128792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海量</a:t>
            </a:r>
            <a:r>
              <a:rPr lang="zh-CN" altLang="en-US" sz="2400" dirty="0"/>
              <a:t>设备管理问题（连接、信息传递、设备</a:t>
            </a:r>
            <a:r>
              <a:rPr lang="en-US" altLang="zh-CN" sz="2400" dirty="0"/>
              <a:t>/</a:t>
            </a:r>
            <a:r>
              <a:rPr lang="zh-CN" altLang="en-US" sz="2400" dirty="0"/>
              <a:t>云端快速响应）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设备</a:t>
            </a:r>
            <a:r>
              <a:rPr lang="zh-CN" altLang="en-US" sz="2400" dirty="0"/>
              <a:t>安全问题（设备安全、信息交互安全、用户信息安全）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设备</a:t>
            </a:r>
            <a:r>
              <a:rPr lang="zh-CN" altLang="en-US" sz="2400" dirty="0"/>
              <a:t>的</a:t>
            </a:r>
            <a:r>
              <a:rPr lang="zh-CN" altLang="en-US" sz="2400" dirty="0" smtClean="0"/>
              <a:t>动态升级</a:t>
            </a:r>
            <a:r>
              <a:rPr lang="zh-CN" altLang="en-US" sz="2400" dirty="0"/>
              <a:t>问题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不同</a:t>
            </a:r>
            <a:r>
              <a:rPr lang="zh-CN" altLang="en-US" sz="2400" dirty="0"/>
              <a:t>设备的兼容</a:t>
            </a:r>
            <a:r>
              <a:rPr lang="en-US" altLang="zh-CN" sz="2400" dirty="0"/>
              <a:t>/</a:t>
            </a:r>
            <a:r>
              <a:rPr lang="zh-CN" altLang="en-US" sz="2400" dirty="0"/>
              <a:t>数据互通问题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第三</a:t>
            </a:r>
            <a:r>
              <a:rPr lang="zh-CN" altLang="en-US" sz="2400" dirty="0"/>
              <a:t>方开发者的产品自动流程化接入问题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设备</a:t>
            </a:r>
            <a:r>
              <a:rPr lang="zh-CN" altLang="en-US" sz="2400" dirty="0"/>
              <a:t>上传数据的实时数据分析</a:t>
            </a:r>
            <a:r>
              <a:rPr lang="en-US" altLang="zh-CN" sz="2400" dirty="0"/>
              <a:t>/</a:t>
            </a:r>
            <a:r>
              <a:rPr lang="zh-CN" altLang="en-US" sz="2400" dirty="0"/>
              <a:t>监控问题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设备</a:t>
            </a:r>
            <a:r>
              <a:rPr lang="zh-CN" altLang="en-US" sz="2400" dirty="0"/>
              <a:t>之间的</a:t>
            </a:r>
            <a:r>
              <a:rPr lang="en-US" altLang="zh-CN" sz="2400" dirty="0"/>
              <a:t>IFTTT</a:t>
            </a:r>
            <a:r>
              <a:rPr lang="zh-CN" altLang="en-US" sz="2400" dirty="0"/>
              <a:t>命令自动推荐策略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服务</a:t>
            </a:r>
            <a:r>
              <a:rPr lang="zh-CN" altLang="en-US" sz="2400" dirty="0"/>
              <a:t>的高性能、高可用、高扩展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dirty="0" smtClean="0"/>
              <a:t>智能</a:t>
            </a:r>
            <a:r>
              <a:rPr lang="zh-CN" altLang="en-US" sz="2400" dirty="0"/>
              <a:t>社区、众筹业务</a:t>
            </a:r>
            <a:r>
              <a:rPr lang="zh-CN" altLang="en-US" sz="2400" dirty="0" smtClean="0"/>
              <a:t>等第三</a:t>
            </a:r>
            <a:r>
              <a:rPr lang="zh-CN" altLang="en-US" sz="2400" dirty="0" smtClean="0"/>
              <a:t>方资源的</a:t>
            </a:r>
            <a:r>
              <a:rPr lang="zh-CN" altLang="en-US" sz="2400" dirty="0"/>
              <a:t>高效对接问题</a:t>
            </a:r>
            <a:endParaRPr lang="en-US" altLang="zh-CN" sz="2400" dirty="0"/>
          </a:p>
          <a:p>
            <a:pPr marL="342900" indent="-342900">
              <a:buFont typeface="Wingdings" panose="05000000000000000000" pitchFamily="2" charset="2"/>
              <a:buChar char="l"/>
            </a:pPr>
            <a:r>
              <a:rPr lang="zh-CN" altLang="en-US" sz="2400" b="1" dirty="0" smtClean="0"/>
              <a:t>服务</a:t>
            </a:r>
            <a:r>
              <a:rPr lang="zh-CN" altLang="en-US" sz="2400" b="1" dirty="0"/>
              <a:t>端性能指标考虑？</a:t>
            </a:r>
            <a:r>
              <a:rPr lang="zh-CN" altLang="en-US" sz="2400" dirty="0"/>
              <a:t>（通过可扩展和监控来动态解决）</a:t>
            </a: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1116142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644008" y="2977528"/>
            <a:ext cx="4253466" cy="30437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552728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</a:t>
            </a:r>
            <a:r>
              <a:rPr lang="zh-CN" altLang="en-US" sz="2000" b="1" dirty="0" smtClean="0"/>
              <a:t>：</a:t>
            </a:r>
            <a:r>
              <a:rPr lang="zh-CN" altLang="en-US" sz="2000" dirty="0"/>
              <a:t>海量</a:t>
            </a:r>
            <a:r>
              <a:rPr lang="zh-CN" altLang="en-US" sz="2000" dirty="0"/>
              <a:t>设备</a:t>
            </a:r>
            <a:r>
              <a:rPr lang="zh-CN" altLang="en-US" sz="2000" dirty="0"/>
              <a:t>的管理</a:t>
            </a:r>
            <a:r>
              <a:rPr lang="zh-CN" altLang="en-US" sz="2000" dirty="0" smtClean="0"/>
              <a:t>问题</a:t>
            </a:r>
            <a:endParaRPr lang="zh-CN" altLang="en-US" sz="2000" dirty="0"/>
          </a:p>
        </p:txBody>
      </p:sp>
      <p:sp>
        <p:nvSpPr>
          <p:cNvPr id="12" name="矩形 11"/>
          <p:cNvSpPr/>
          <p:nvPr/>
        </p:nvSpPr>
        <p:spPr>
          <a:xfrm>
            <a:off x="4751950" y="1116016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4715945" y="2114925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4" name="矩形 13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5" name="矩形 14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16" name="矩形 15"/>
          <p:cNvSpPr/>
          <p:nvPr/>
        </p:nvSpPr>
        <p:spPr>
          <a:xfrm>
            <a:off x="6332678" y="1116016"/>
            <a:ext cx="2281573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超级智点</a:t>
            </a:r>
          </a:p>
        </p:txBody>
      </p:sp>
      <p:sp>
        <p:nvSpPr>
          <p:cNvPr id="18" name="矩形 17"/>
          <p:cNvSpPr/>
          <p:nvPr/>
        </p:nvSpPr>
        <p:spPr>
          <a:xfrm>
            <a:off x="4895964" y="2332763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949372" y="2328546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982541" y="2325073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607637" y="2333572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7003434" y="2332763"/>
            <a:ext cx="555328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8138162" y="2333572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>
            <a:off x="5688123" y="1764088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>
            <a:off x="7221943" y="1764088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5873172" y="3140867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超级智点</a:t>
            </a:r>
            <a:endParaRPr lang="zh-CN" altLang="en-US" dirty="0"/>
          </a:p>
        </p:txBody>
      </p:sp>
      <p:sp>
        <p:nvSpPr>
          <p:cNvPr id="29" name="矩形 28"/>
          <p:cNvSpPr/>
          <p:nvPr/>
        </p:nvSpPr>
        <p:spPr>
          <a:xfrm>
            <a:off x="5185789" y="4338710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r>
              <a:rPr lang="zh-CN" altLang="en-US" sz="1200" dirty="0" smtClean="0">
                <a:solidFill>
                  <a:schemeClr val="tx1"/>
                </a:solidFill>
              </a:rPr>
              <a:t>长连接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719768" y="4208635"/>
            <a:ext cx="1069553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Gateway</a:t>
            </a:r>
            <a:endParaRPr lang="zh-CN" altLang="en-US" sz="1050" dirty="0"/>
          </a:p>
        </p:txBody>
      </p:sp>
      <p:cxnSp>
        <p:nvCxnSpPr>
          <p:cNvPr id="31" name="直接箭头连接符 30"/>
          <p:cNvCxnSpPr/>
          <p:nvPr/>
        </p:nvCxnSpPr>
        <p:spPr>
          <a:xfrm flipH="1">
            <a:off x="5949372" y="3762646"/>
            <a:ext cx="661882" cy="4459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矩形 31"/>
          <p:cNvSpPr/>
          <p:nvPr/>
        </p:nvSpPr>
        <p:spPr>
          <a:xfrm>
            <a:off x="7128212" y="4361035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r>
              <a:rPr lang="zh-CN" altLang="en-US" sz="1200" dirty="0" smtClean="0">
                <a:solidFill>
                  <a:schemeClr val="tx1"/>
                </a:solidFill>
              </a:rPr>
              <a:t>长连接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6662191" y="4230960"/>
            <a:ext cx="1069553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Gateway</a:t>
            </a:r>
            <a:endParaRPr lang="zh-CN" altLang="en-US" sz="1050" dirty="0"/>
          </a:p>
        </p:txBody>
      </p:sp>
      <p:cxnSp>
        <p:nvCxnSpPr>
          <p:cNvPr id="34" name="直接箭头连接符 33"/>
          <p:cNvCxnSpPr/>
          <p:nvPr/>
        </p:nvCxnSpPr>
        <p:spPr>
          <a:xfrm>
            <a:off x="6982541" y="3762646"/>
            <a:ext cx="648004" cy="468314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348652" y="3843476"/>
            <a:ext cx="15488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dirty="0" smtClean="0"/>
              <a:t>UDP</a:t>
            </a:r>
            <a:r>
              <a:rPr lang="zh-CN" altLang="en-US" sz="800" dirty="0" smtClean="0"/>
              <a:t>网络不通，则使用</a:t>
            </a:r>
            <a:r>
              <a:rPr lang="en-US" altLang="zh-CN" sz="800" dirty="0" smtClean="0"/>
              <a:t>TCP</a:t>
            </a:r>
            <a:r>
              <a:rPr lang="zh-CN" altLang="en-US" sz="800" dirty="0" smtClean="0"/>
              <a:t>连接</a:t>
            </a:r>
            <a:endParaRPr lang="zh-CN" altLang="en-US" sz="800" dirty="0"/>
          </a:p>
        </p:txBody>
      </p:sp>
      <p:sp>
        <p:nvSpPr>
          <p:cNvPr id="36" name="矩形 35"/>
          <p:cNvSpPr/>
          <p:nvPr/>
        </p:nvSpPr>
        <p:spPr>
          <a:xfrm>
            <a:off x="5185786" y="5232064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</a:rPr>
              <a:t>信息</a:t>
            </a:r>
            <a:r>
              <a:rPr lang="zh-CN" altLang="en-US" sz="800" dirty="0" smtClean="0">
                <a:solidFill>
                  <a:schemeClr val="tx1"/>
                </a:solidFill>
              </a:rPr>
              <a:t>验证（保证安全</a:t>
            </a:r>
            <a:r>
              <a:rPr lang="zh-CN" altLang="en-US" sz="800" dirty="0">
                <a:solidFill>
                  <a:schemeClr val="tx1"/>
                </a:solidFill>
              </a:rPr>
              <a:t>）</a:t>
            </a:r>
          </a:p>
        </p:txBody>
      </p:sp>
      <p:cxnSp>
        <p:nvCxnSpPr>
          <p:cNvPr id="37" name="直接箭头连接符 36"/>
          <p:cNvCxnSpPr/>
          <p:nvPr/>
        </p:nvCxnSpPr>
        <p:spPr>
          <a:xfrm>
            <a:off x="5688118" y="4761275"/>
            <a:ext cx="1" cy="428739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5587677" y="3808257"/>
            <a:ext cx="5709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800" dirty="0">
                <a:solidFill>
                  <a:srgbClr val="FF0000"/>
                </a:solidFill>
              </a:rPr>
              <a:t>优先</a:t>
            </a:r>
            <a:r>
              <a:rPr lang="en-US" altLang="zh-CN" sz="800" dirty="0" smtClean="0">
                <a:solidFill>
                  <a:srgbClr val="FF0000"/>
                </a:solidFill>
              </a:rPr>
              <a:t>UDP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4658909" y="1015160"/>
            <a:ext cx="4253466" cy="18377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9512" y="1015160"/>
            <a:ext cx="1569660" cy="369332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rtlCol="0">
            <a:spAutoFit/>
          </a:bodyPr>
          <a:lstStyle/>
          <a:p>
            <a:r>
              <a:rPr lang="zh-CN" altLang="en-US" dirty="0" smtClean="0"/>
              <a:t>海量设备管理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95536" y="1514760"/>
            <a:ext cx="378731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gateway</a:t>
            </a:r>
            <a:r>
              <a:rPr lang="zh-CN" altLang="en-US" dirty="0"/>
              <a:t>支持负载均衡和弹性</a:t>
            </a:r>
            <a:r>
              <a:rPr lang="zh-CN" altLang="en-US" dirty="0" smtClean="0"/>
              <a:t>扩展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长</a:t>
            </a:r>
            <a:r>
              <a:rPr lang="zh-CN" altLang="en-US" dirty="0" smtClean="0"/>
              <a:t>连接管理优化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虚拟权重线程池管理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smtClean="0"/>
              <a:t>NIO</a:t>
            </a:r>
            <a:r>
              <a:rPr lang="zh-CN" altLang="en-US" dirty="0" smtClean="0"/>
              <a:t>多路复用线程应用</a:t>
            </a:r>
            <a:endParaRPr lang="zh-CN" altLang="en-US" dirty="0"/>
          </a:p>
        </p:txBody>
      </p:sp>
      <p:sp>
        <p:nvSpPr>
          <p:cNvPr id="40" name="TextBox 39"/>
          <p:cNvSpPr txBox="1"/>
          <p:nvPr/>
        </p:nvSpPr>
        <p:spPr>
          <a:xfrm>
            <a:off x="194048" y="3135209"/>
            <a:ext cx="1569660" cy="369332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rtlCol="0">
            <a:spAutoFit/>
          </a:bodyPr>
          <a:lstStyle>
            <a:defPPr>
              <a:defRPr lang="zh-CN"/>
            </a:defPPr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zh-CN" altLang="en-US" dirty="0"/>
              <a:t>双重协议保障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21115" y="3625499"/>
            <a:ext cx="42948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同时支持</a:t>
            </a:r>
            <a:r>
              <a:rPr lang="en-US" altLang="zh-CN" dirty="0" smtClean="0"/>
              <a:t>UDP+TCP</a:t>
            </a:r>
            <a:r>
              <a:rPr lang="zh-CN" altLang="en-US" dirty="0" smtClean="0"/>
              <a:t>传输数据，</a:t>
            </a:r>
            <a:r>
              <a:rPr lang="en-US" altLang="zh-CN" dirty="0" smtClean="0"/>
              <a:t>UDP</a:t>
            </a:r>
            <a:r>
              <a:rPr lang="zh-CN" altLang="en-US" dirty="0" smtClean="0"/>
              <a:t>优先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优化</a:t>
            </a:r>
            <a:r>
              <a:rPr lang="en-US" altLang="zh-CN" dirty="0" smtClean="0"/>
              <a:t>UDP</a:t>
            </a:r>
            <a:r>
              <a:rPr lang="zh-CN" altLang="en-US" dirty="0" smtClean="0"/>
              <a:t>协议，提高安全和性能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smtClean="0"/>
              <a:t>UDP</a:t>
            </a:r>
            <a:r>
              <a:rPr lang="zh-CN" altLang="en-US" dirty="0" smtClean="0"/>
              <a:t>通讯失败，</a:t>
            </a:r>
            <a:r>
              <a:rPr lang="en-US" altLang="zh-CN" dirty="0" smtClean="0"/>
              <a:t>TCP</a:t>
            </a:r>
            <a:r>
              <a:rPr lang="zh-CN" altLang="en-US" dirty="0" smtClean="0"/>
              <a:t>可做备用保障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smtClean="0"/>
              <a:t>UDP</a:t>
            </a:r>
            <a:r>
              <a:rPr lang="zh-CN" altLang="en-US" dirty="0" smtClean="0"/>
              <a:t>单机可支持</a:t>
            </a:r>
            <a:r>
              <a:rPr lang="en-US" altLang="zh-CN" b="1" dirty="0" smtClean="0"/>
              <a:t>1000</a:t>
            </a:r>
            <a:r>
              <a:rPr lang="zh-CN" altLang="en-US" b="1" dirty="0" smtClean="0"/>
              <a:t>万</a:t>
            </a:r>
            <a:r>
              <a:rPr lang="en-US" altLang="zh-CN" b="1" dirty="0" smtClean="0"/>
              <a:t>+</a:t>
            </a:r>
            <a:r>
              <a:rPr lang="zh-CN" altLang="en-US" dirty="0" smtClean="0"/>
              <a:t>的长连接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808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矩形 59"/>
          <p:cNvSpPr/>
          <p:nvPr/>
        </p:nvSpPr>
        <p:spPr>
          <a:xfrm>
            <a:off x="6107944" y="909417"/>
            <a:ext cx="2713298" cy="2337895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923928" y="942597"/>
            <a:ext cx="2096317" cy="2304715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9" name="矩形 48"/>
          <p:cNvSpPr/>
          <p:nvPr/>
        </p:nvSpPr>
        <p:spPr>
          <a:xfrm>
            <a:off x="4228292" y="4005064"/>
            <a:ext cx="4664187" cy="209972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7056784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</a:t>
            </a:r>
            <a:r>
              <a:rPr lang="zh-CN" altLang="en-US" sz="2000" b="1" dirty="0" smtClean="0"/>
              <a:t>：</a:t>
            </a:r>
            <a:r>
              <a:rPr lang="zh-CN" altLang="en-US" sz="2000" dirty="0" smtClean="0"/>
              <a:t>安全</a:t>
            </a:r>
            <a:r>
              <a:rPr lang="zh-CN" altLang="en-US" sz="2000" dirty="0"/>
              <a:t>问题（设备</a:t>
            </a:r>
            <a:r>
              <a:rPr lang="en-US" altLang="zh-CN" sz="2000" dirty="0"/>
              <a:t>/</a:t>
            </a:r>
            <a:r>
              <a:rPr lang="zh-CN" altLang="en-US" sz="2000" dirty="0" smtClean="0"/>
              <a:t>信息</a:t>
            </a:r>
            <a:r>
              <a:rPr lang="en-US" altLang="zh-CN" sz="2000" dirty="0" smtClean="0"/>
              <a:t>/</a:t>
            </a:r>
            <a:r>
              <a:rPr lang="zh-CN" altLang="en-US" sz="2000" dirty="0" smtClean="0"/>
              <a:t>用户安全</a:t>
            </a:r>
            <a:r>
              <a:rPr lang="zh-CN" altLang="en-US" sz="2000" dirty="0"/>
              <a:t>）</a:t>
            </a:r>
          </a:p>
        </p:txBody>
      </p:sp>
      <p:sp>
        <p:nvSpPr>
          <p:cNvPr id="6" name="矩形 5"/>
          <p:cNvSpPr/>
          <p:nvPr/>
        </p:nvSpPr>
        <p:spPr>
          <a:xfrm>
            <a:off x="6230196" y="1017845"/>
            <a:ext cx="1240415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7596336" y="1027789"/>
            <a:ext cx="122413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超级智点</a:t>
            </a:r>
          </a:p>
        </p:txBody>
      </p:sp>
      <p:cxnSp>
        <p:nvCxnSpPr>
          <p:cNvPr id="8" name="直接箭头连接符 7"/>
          <p:cNvCxnSpPr/>
          <p:nvPr/>
        </p:nvCxnSpPr>
        <p:spPr>
          <a:xfrm>
            <a:off x="7378877" y="1665917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组合 15"/>
          <p:cNvGrpSpPr/>
          <p:nvPr/>
        </p:nvGrpSpPr>
        <p:grpSpPr>
          <a:xfrm>
            <a:off x="6230196" y="2061775"/>
            <a:ext cx="2374252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7" name="矩形 16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altLang="zh-CN" dirty="0" smtClean="0"/>
                <a:t>….</a:t>
              </a:r>
              <a:endParaRPr lang="zh-CN" altLang="en-US" dirty="0"/>
            </a:p>
          </p:txBody>
        </p:sp>
        <p:sp>
          <p:nvSpPr>
            <p:cNvPr id="18" name="矩形 17"/>
            <p:cNvSpPr/>
            <p:nvPr/>
          </p:nvSpPr>
          <p:spPr>
            <a:xfrm>
              <a:off x="-3068640" y="1768599"/>
              <a:ext cx="1160233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19" name="矩形 18"/>
          <p:cNvSpPr/>
          <p:nvPr/>
        </p:nvSpPr>
        <p:spPr>
          <a:xfrm>
            <a:off x="6465944" y="2279241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378877" y="1668544"/>
            <a:ext cx="111705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err="1" smtClean="0"/>
              <a:t>Access_key</a:t>
            </a:r>
            <a:endParaRPr lang="en-US" altLang="zh-CN" sz="1100" dirty="0" smtClean="0"/>
          </a:p>
          <a:p>
            <a:r>
              <a:rPr lang="en-US" altLang="zh-CN" sz="1100" dirty="0"/>
              <a:t>Product-secret</a:t>
            </a:r>
            <a:endParaRPr lang="zh-CN" altLang="en-US" sz="1100" dirty="0"/>
          </a:p>
          <a:p>
            <a:endParaRPr lang="zh-CN" altLang="en-US" sz="1100" dirty="0"/>
          </a:p>
        </p:txBody>
      </p:sp>
      <p:cxnSp>
        <p:nvCxnSpPr>
          <p:cNvPr id="21" name="直接箭头连接符 20"/>
          <p:cNvCxnSpPr/>
          <p:nvPr/>
        </p:nvCxnSpPr>
        <p:spPr>
          <a:xfrm>
            <a:off x="8316416" y="1642897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圆角矩形 30"/>
          <p:cNvSpPr/>
          <p:nvPr/>
        </p:nvSpPr>
        <p:spPr>
          <a:xfrm>
            <a:off x="4361735" y="4117030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2</a:t>
            </a:r>
            <a:endParaRPr lang="zh-CN" altLang="en-US" dirty="0"/>
          </a:p>
        </p:txBody>
      </p:sp>
      <p:cxnSp>
        <p:nvCxnSpPr>
          <p:cNvPr id="32" name="直接连接符 31"/>
          <p:cNvCxnSpPr>
            <a:stCxn id="31" idx="2"/>
          </p:cNvCxnSpPr>
          <p:nvPr/>
        </p:nvCxnSpPr>
        <p:spPr>
          <a:xfrm flipH="1">
            <a:off x="4806049" y="4405062"/>
            <a:ext cx="16601" cy="15550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/>
          <p:nvPr/>
        </p:nvCxnSpPr>
        <p:spPr>
          <a:xfrm flipV="1">
            <a:off x="4830950" y="4645253"/>
            <a:ext cx="1081283" cy="1183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216448" y="4405062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查找成功</a:t>
            </a:r>
            <a:endParaRPr lang="zh-CN" altLang="en-US" sz="1000" dirty="0"/>
          </a:p>
        </p:txBody>
      </p:sp>
      <p:sp>
        <p:nvSpPr>
          <p:cNvPr id="35" name="圆角矩形 34"/>
          <p:cNvSpPr/>
          <p:nvPr/>
        </p:nvSpPr>
        <p:spPr>
          <a:xfrm>
            <a:off x="5607594" y="4078010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evice</a:t>
            </a:r>
            <a:endParaRPr lang="zh-CN" altLang="en-US" dirty="0"/>
          </a:p>
        </p:txBody>
      </p:sp>
      <p:cxnSp>
        <p:nvCxnSpPr>
          <p:cNvPr id="36" name="直接连接符 35"/>
          <p:cNvCxnSpPr>
            <a:stCxn id="35" idx="2"/>
          </p:cNvCxnSpPr>
          <p:nvPr/>
        </p:nvCxnSpPr>
        <p:spPr>
          <a:xfrm>
            <a:off x="6029720" y="4366042"/>
            <a:ext cx="0" cy="1594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圆角矩形 36"/>
          <p:cNvSpPr/>
          <p:nvPr/>
        </p:nvSpPr>
        <p:spPr>
          <a:xfrm>
            <a:off x="6673780" y="4066520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云服务</a:t>
            </a:r>
            <a:endParaRPr lang="zh-CN" altLang="en-US" sz="1400" dirty="0"/>
          </a:p>
        </p:txBody>
      </p:sp>
      <p:cxnSp>
        <p:nvCxnSpPr>
          <p:cNvPr id="38" name="直接连接符 37"/>
          <p:cNvCxnSpPr>
            <a:stCxn id="37" idx="2"/>
          </p:cNvCxnSpPr>
          <p:nvPr/>
        </p:nvCxnSpPr>
        <p:spPr>
          <a:xfrm>
            <a:off x="7095906" y="4354552"/>
            <a:ext cx="0" cy="1533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 flipH="1">
            <a:off x="4868117" y="4876376"/>
            <a:ext cx="1152128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5216448" y="4630155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cxnSp>
        <p:nvCxnSpPr>
          <p:cNvPr id="41" name="直接箭头连接符 40"/>
          <p:cNvCxnSpPr/>
          <p:nvPr/>
        </p:nvCxnSpPr>
        <p:spPr>
          <a:xfrm>
            <a:off x="4814349" y="5251515"/>
            <a:ext cx="228155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5389954" y="4943313"/>
            <a:ext cx="1449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/>
              <a:t>请求控制设备：</a:t>
            </a:r>
            <a:r>
              <a:rPr lang="zh-CN" altLang="en-US" sz="1000" dirty="0" smtClean="0"/>
              <a:t>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sp>
        <p:nvSpPr>
          <p:cNvPr id="43" name="圆角矩形 42"/>
          <p:cNvSpPr/>
          <p:nvPr/>
        </p:nvSpPr>
        <p:spPr>
          <a:xfrm>
            <a:off x="7899413" y="4066520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1</a:t>
            </a:r>
            <a:endParaRPr lang="zh-CN" altLang="en-US" dirty="0"/>
          </a:p>
        </p:txBody>
      </p:sp>
      <p:cxnSp>
        <p:nvCxnSpPr>
          <p:cNvPr id="44" name="直接连接符 43"/>
          <p:cNvCxnSpPr>
            <a:stCxn id="43" idx="2"/>
          </p:cNvCxnSpPr>
          <p:nvPr/>
        </p:nvCxnSpPr>
        <p:spPr>
          <a:xfrm flipH="1">
            <a:off x="8360327" y="4354552"/>
            <a:ext cx="1" cy="1533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/>
          <p:nvPr/>
        </p:nvCxnSpPr>
        <p:spPr>
          <a:xfrm>
            <a:off x="7095906" y="5449178"/>
            <a:ext cx="126442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7168931" y="5123154"/>
            <a:ext cx="17235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/>
              <a:t>App2</a:t>
            </a:r>
            <a:r>
              <a:rPr lang="zh-CN" altLang="en-US" sz="1000" dirty="0" smtClean="0"/>
              <a:t>请求控制设备：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cxnSp>
        <p:nvCxnSpPr>
          <p:cNvPr id="47" name="直接箭头连接符 46"/>
          <p:cNvCxnSpPr/>
          <p:nvPr/>
        </p:nvCxnSpPr>
        <p:spPr>
          <a:xfrm flipH="1">
            <a:off x="4874282" y="5744081"/>
            <a:ext cx="348604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5727066" y="5449178"/>
            <a:ext cx="19159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授权成功，返回设备</a:t>
            </a:r>
            <a:r>
              <a:rPr lang="en-US" altLang="zh-CN" sz="1000" dirty="0" err="1" smtClean="0"/>
              <a:t>access_key</a:t>
            </a:r>
            <a:endParaRPr lang="zh-CN" altLang="en-US" sz="1000" dirty="0"/>
          </a:p>
        </p:txBody>
      </p:sp>
      <p:sp>
        <p:nvSpPr>
          <p:cNvPr id="50" name="TextBox 49"/>
          <p:cNvSpPr txBox="1"/>
          <p:nvPr/>
        </p:nvSpPr>
        <p:spPr>
          <a:xfrm>
            <a:off x="72772" y="1041854"/>
            <a:ext cx="1800493" cy="369332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rtlCol="0">
            <a:spAutoFit/>
          </a:bodyPr>
          <a:lstStyle>
            <a:defPPr>
              <a:defRPr lang="zh-CN"/>
            </a:defPPr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zh-CN" altLang="en-US" dirty="0"/>
              <a:t>设备、信息安全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2772" y="1591632"/>
            <a:ext cx="393569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激活</a:t>
            </a:r>
            <a:r>
              <a:rPr lang="zh-CN" altLang="en-US" dirty="0" smtClean="0"/>
              <a:t>时效</a:t>
            </a:r>
            <a:r>
              <a:rPr lang="en-US" altLang="zh-CN" dirty="0" smtClean="0"/>
              <a:t>+</a:t>
            </a:r>
            <a:r>
              <a:rPr lang="zh-CN" altLang="en-US" dirty="0" smtClean="0"/>
              <a:t>硬件卡保障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控制</a:t>
            </a:r>
            <a:r>
              <a:rPr lang="zh-CN" altLang="en-US" dirty="0" smtClean="0"/>
              <a:t>时</a:t>
            </a:r>
            <a:r>
              <a:rPr lang="en-US" altLang="zh-CN" dirty="0" smtClean="0"/>
              <a:t>,</a:t>
            </a:r>
            <a:r>
              <a:rPr lang="zh-CN" altLang="en-US" dirty="0" smtClean="0"/>
              <a:t>产品秘钥</a:t>
            </a:r>
            <a:r>
              <a:rPr lang="en-US" altLang="zh-CN" dirty="0" smtClean="0"/>
              <a:t>+</a:t>
            </a:r>
            <a:r>
              <a:rPr lang="zh-CN" altLang="en-US" dirty="0" smtClean="0"/>
              <a:t>通讯秘钥</a:t>
            </a:r>
            <a:endParaRPr lang="en-US" altLang="zh-CN" dirty="0" smtClean="0"/>
          </a:p>
          <a:p>
            <a:r>
              <a:rPr lang="en-US" altLang="zh-CN" dirty="0" smtClean="0"/>
              <a:t>      </a:t>
            </a:r>
            <a:r>
              <a:rPr lang="zh-CN" altLang="en-US" dirty="0" smtClean="0"/>
              <a:t>双重保障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通讯秘</a:t>
            </a:r>
            <a:r>
              <a:rPr lang="zh-CN" altLang="en-US" dirty="0" smtClean="0"/>
              <a:t>钥由硬件加密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数据通讯，采用加密算法（待定）</a:t>
            </a:r>
            <a:endParaRPr lang="zh-CN" alt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107504" y="3970629"/>
            <a:ext cx="1569660" cy="369332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rtlCol="0">
            <a:spAutoFit/>
          </a:bodyPr>
          <a:lstStyle>
            <a:defPPr>
              <a:defRPr lang="zh-CN"/>
            </a:defPPr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zh-CN" altLang="en-US" dirty="0"/>
              <a:t>用户权限安全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5571" y="4492212"/>
            <a:ext cx="4397358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第一</a:t>
            </a:r>
            <a:r>
              <a:rPr lang="zh-CN" altLang="en-US" dirty="0" smtClean="0"/>
              <a:t>个激活设备的人，具有管理员权限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第二个人需要管理员权限时，</a:t>
            </a:r>
            <a:endParaRPr lang="en-US" altLang="zh-CN" dirty="0" smtClean="0"/>
          </a:p>
          <a:p>
            <a:r>
              <a:rPr lang="en-US" altLang="zh-CN" dirty="0"/>
              <a:t> </a:t>
            </a:r>
            <a:r>
              <a:rPr lang="en-US" altLang="zh-CN" dirty="0" smtClean="0"/>
              <a:t>     </a:t>
            </a:r>
            <a:r>
              <a:rPr lang="zh-CN" altLang="en-US" dirty="0" smtClean="0"/>
              <a:t>需要第一个人授权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权限可以再分配，包括对</a:t>
            </a:r>
            <a:r>
              <a:rPr lang="en-US" altLang="zh-CN" dirty="0" smtClean="0"/>
              <a:t>Room</a:t>
            </a:r>
            <a:r>
              <a:rPr lang="zh-CN" altLang="en-US" dirty="0" smtClean="0"/>
              <a:t>的</a:t>
            </a:r>
            <a:endParaRPr lang="en-US" altLang="zh-CN" dirty="0" smtClean="0"/>
          </a:p>
          <a:p>
            <a:r>
              <a:rPr lang="en-US" altLang="zh-CN" dirty="0"/>
              <a:t> </a:t>
            </a:r>
            <a:r>
              <a:rPr lang="en-US" altLang="zh-CN" dirty="0" smtClean="0"/>
              <a:t>     </a:t>
            </a:r>
            <a:r>
              <a:rPr lang="zh-CN" altLang="en-US" dirty="0" smtClean="0"/>
              <a:t>权限控制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 smtClean="0"/>
              <a:t>当管理员手机丢失时，可通过硬件重置</a:t>
            </a:r>
            <a:endParaRPr lang="zh-CN" altLang="en-US" dirty="0"/>
          </a:p>
        </p:txBody>
      </p:sp>
      <p:grpSp>
        <p:nvGrpSpPr>
          <p:cNvPr id="54" name="组合 53"/>
          <p:cNvGrpSpPr/>
          <p:nvPr/>
        </p:nvGrpSpPr>
        <p:grpSpPr>
          <a:xfrm>
            <a:off x="4283968" y="2061775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55" name="矩形 54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56" name="矩形 55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JOS</a:t>
              </a:r>
              <a:endParaRPr lang="zh-CN" altLang="en-US" sz="1050" dirty="0"/>
            </a:p>
          </p:txBody>
        </p:sp>
      </p:grpSp>
      <p:sp>
        <p:nvSpPr>
          <p:cNvPr id="57" name="矩形 56"/>
          <p:cNvSpPr/>
          <p:nvPr/>
        </p:nvSpPr>
        <p:spPr>
          <a:xfrm>
            <a:off x="4408558" y="1027789"/>
            <a:ext cx="126415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开发</a:t>
            </a:r>
            <a:r>
              <a:rPr lang="zh-CN" altLang="en-US" sz="1400" dirty="0" smtClean="0"/>
              <a:t>者</a:t>
            </a:r>
            <a:endParaRPr lang="zh-CN" altLang="en-US" sz="1400" dirty="0"/>
          </a:p>
        </p:txBody>
      </p:sp>
      <p:cxnSp>
        <p:nvCxnSpPr>
          <p:cNvPr id="58" name="直接箭头连接符 57"/>
          <p:cNvCxnSpPr/>
          <p:nvPr/>
        </p:nvCxnSpPr>
        <p:spPr>
          <a:xfrm>
            <a:off x="4994874" y="162393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5040636" y="1713157"/>
            <a:ext cx="1117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/>
              <a:t>Product-secret</a:t>
            </a:r>
            <a:endParaRPr lang="zh-CN" altLang="en-US" sz="1100" dirty="0"/>
          </a:p>
        </p:txBody>
      </p:sp>
      <p:sp>
        <p:nvSpPr>
          <p:cNvPr id="4" name="矩形 3"/>
          <p:cNvSpPr/>
          <p:nvPr/>
        </p:nvSpPr>
        <p:spPr>
          <a:xfrm>
            <a:off x="4031478" y="2871772"/>
            <a:ext cx="914400" cy="25036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开发时</a:t>
            </a:r>
            <a:endParaRPr lang="zh-CN" altLang="en-US" dirty="0"/>
          </a:p>
        </p:txBody>
      </p:sp>
      <p:sp>
        <p:nvSpPr>
          <p:cNvPr id="61" name="矩形 60"/>
          <p:cNvSpPr/>
          <p:nvPr/>
        </p:nvSpPr>
        <p:spPr>
          <a:xfrm>
            <a:off x="6177880" y="2871772"/>
            <a:ext cx="914400" cy="25036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控制</a:t>
            </a:r>
            <a:r>
              <a:rPr lang="zh-CN" altLang="en-US" dirty="0" smtClean="0"/>
              <a:t>时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374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336704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：</a:t>
            </a:r>
            <a:r>
              <a:rPr lang="zh-CN" altLang="en-US" sz="2000" dirty="0" smtClean="0"/>
              <a:t>开发</a:t>
            </a:r>
            <a:r>
              <a:rPr lang="zh-CN" altLang="en-US" sz="2000" dirty="0"/>
              <a:t>者的产品自动化接入</a:t>
            </a:r>
            <a:endParaRPr lang="en-US" altLang="zh-CN" sz="2000" dirty="0"/>
          </a:p>
        </p:txBody>
      </p:sp>
      <p:sp>
        <p:nvSpPr>
          <p:cNvPr id="29" name="TextBox 28"/>
          <p:cNvSpPr txBox="1"/>
          <p:nvPr/>
        </p:nvSpPr>
        <p:spPr>
          <a:xfrm>
            <a:off x="606996" y="1736636"/>
            <a:ext cx="381642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设计一套通用协议，通过</a:t>
            </a:r>
            <a:r>
              <a:rPr lang="en-US" altLang="zh-CN" dirty="0"/>
              <a:t>xml</a:t>
            </a:r>
            <a:r>
              <a:rPr lang="zh-CN" altLang="en-US" dirty="0"/>
              <a:t>协议定义，产品开发者根据协议标准，描述设备信息，即可完成</a:t>
            </a:r>
            <a:r>
              <a:rPr lang="en-US" altLang="zh-CN" dirty="0" err="1"/>
              <a:t>jd</a:t>
            </a:r>
            <a:r>
              <a:rPr lang="en-US" altLang="zh-CN" dirty="0"/>
              <a:t>+</a:t>
            </a:r>
            <a:r>
              <a:rPr lang="zh-CN" altLang="en-US" dirty="0"/>
              <a:t>产品对接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上传协议之后，服务端审核通过之后，自动化（例如模板技术）生成设备和</a:t>
            </a:r>
            <a:r>
              <a:rPr lang="en-US" altLang="zh-CN" dirty="0"/>
              <a:t>app</a:t>
            </a:r>
            <a:r>
              <a:rPr lang="zh-CN" altLang="en-US" dirty="0"/>
              <a:t>所需要的解析库文件和</a:t>
            </a:r>
            <a:r>
              <a:rPr lang="en-US" altLang="zh-CN" dirty="0" err="1"/>
              <a:t>sdk</a:t>
            </a:r>
            <a:r>
              <a:rPr lang="zh-CN" altLang="en-US" dirty="0"/>
              <a:t>，同时支持多语言跨平台的多版本</a:t>
            </a:r>
            <a:r>
              <a:rPr lang="en-US" altLang="zh-CN" dirty="0"/>
              <a:t>SDK</a:t>
            </a:r>
            <a:r>
              <a:rPr lang="zh-CN" altLang="en-US" dirty="0"/>
              <a:t>自动生成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/>
              <a:t>、解决问题：只需要厂商按照标准描述协议即可，不需要再有其他的接入流程，不需要写配置文档、解析库文件、</a:t>
            </a:r>
            <a:r>
              <a:rPr lang="en-US" altLang="zh-CN" dirty="0"/>
              <a:t>app UI</a:t>
            </a:r>
            <a:r>
              <a:rPr lang="zh-CN" altLang="en-US" dirty="0"/>
              <a:t>、</a:t>
            </a:r>
            <a:r>
              <a:rPr lang="en-US" altLang="zh-CN" dirty="0" err="1"/>
              <a:t>sdk</a:t>
            </a:r>
            <a:r>
              <a:rPr lang="zh-CN" altLang="en-US" dirty="0"/>
              <a:t>等，也不需要</a:t>
            </a:r>
            <a:r>
              <a:rPr lang="en-US" altLang="zh-CN" dirty="0" err="1"/>
              <a:t>jd</a:t>
            </a:r>
            <a:r>
              <a:rPr lang="en-US" altLang="zh-CN" dirty="0"/>
              <a:t>+</a:t>
            </a:r>
            <a:r>
              <a:rPr lang="zh-CN" altLang="en-US" dirty="0"/>
              <a:t>运营频繁的技术对接和指导。</a:t>
            </a:r>
          </a:p>
        </p:txBody>
      </p:sp>
      <p:grpSp>
        <p:nvGrpSpPr>
          <p:cNvPr id="30" name="组合 29"/>
          <p:cNvGrpSpPr/>
          <p:nvPr/>
        </p:nvGrpSpPr>
        <p:grpSpPr>
          <a:xfrm>
            <a:off x="5271589" y="2816025"/>
            <a:ext cx="1402950" cy="756991"/>
            <a:chOff x="4464690" y="1231849"/>
            <a:chExt cx="3131646" cy="756991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1" name="矩形 30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/>
                <a:t>业务</a:t>
              </a:r>
              <a:r>
                <a:rPr lang="zh-CN" altLang="en-US" sz="1400" dirty="0"/>
                <a:t>控制</a:t>
              </a:r>
            </a:p>
          </p:txBody>
        </p:sp>
        <p:sp>
          <p:nvSpPr>
            <p:cNvPr id="33" name="矩形 32"/>
            <p:cNvSpPr/>
            <p:nvPr/>
          </p:nvSpPr>
          <p:spPr>
            <a:xfrm>
              <a:off x="4464690" y="1231849"/>
              <a:ext cx="1362230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 smtClean="0"/>
                <a:t>JOS</a:t>
              </a:r>
              <a:endParaRPr lang="zh-CN" altLang="en-US" sz="1400" dirty="0"/>
            </a:p>
          </p:txBody>
        </p:sp>
      </p:grpSp>
      <p:sp>
        <p:nvSpPr>
          <p:cNvPr id="34" name="矩形 33"/>
          <p:cNvSpPr/>
          <p:nvPr/>
        </p:nvSpPr>
        <p:spPr>
          <a:xfrm>
            <a:off x="5285792" y="1331424"/>
            <a:ext cx="3026060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开发者</a:t>
            </a:r>
            <a:endParaRPr lang="zh-CN" altLang="en-US" sz="1400" dirty="0"/>
          </a:p>
        </p:txBody>
      </p:sp>
      <p:cxnSp>
        <p:nvCxnSpPr>
          <p:cNvPr id="35" name="直接箭头连接符 34"/>
          <p:cNvCxnSpPr/>
          <p:nvPr/>
        </p:nvCxnSpPr>
        <p:spPr>
          <a:xfrm>
            <a:off x="5996698" y="1846068"/>
            <a:ext cx="0" cy="1124641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779008" y="1984347"/>
            <a:ext cx="11170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上传根据协议描述的产品信息</a:t>
            </a:r>
            <a:endParaRPr lang="zh-CN" altLang="en-US" sz="1400" dirty="0"/>
          </a:p>
        </p:txBody>
      </p:sp>
      <p:grpSp>
        <p:nvGrpSpPr>
          <p:cNvPr id="38" name="组合 37"/>
          <p:cNvGrpSpPr/>
          <p:nvPr/>
        </p:nvGrpSpPr>
        <p:grpSpPr>
          <a:xfrm>
            <a:off x="6827174" y="2788826"/>
            <a:ext cx="1628696" cy="774478"/>
            <a:chOff x="4502051" y="1764184"/>
            <a:chExt cx="3635550" cy="774478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9" name="矩形 38"/>
            <p:cNvSpPr/>
            <p:nvPr/>
          </p:nvSpPr>
          <p:spPr>
            <a:xfrm>
              <a:off x="4570199" y="1972310"/>
              <a:ext cx="3567402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/>
                <a:t>文档中心</a:t>
              </a:r>
              <a:r>
                <a:rPr lang="en-US" altLang="zh-CN" sz="1400" dirty="0" smtClean="0"/>
                <a:t>/SDK</a:t>
              </a:r>
              <a:endParaRPr lang="zh-CN" altLang="en-US" sz="1400" dirty="0"/>
            </a:p>
          </p:txBody>
        </p:sp>
        <p:sp>
          <p:nvSpPr>
            <p:cNvPr id="40" name="矩形 39"/>
            <p:cNvSpPr/>
            <p:nvPr/>
          </p:nvSpPr>
          <p:spPr>
            <a:xfrm>
              <a:off x="4502051" y="1764184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 smtClean="0"/>
                <a:t>JOS</a:t>
              </a:r>
              <a:endParaRPr lang="zh-CN" altLang="en-US" sz="1400" dirty="0"/>
            </a:p>
          </p:txBody>
        </p:sp>
      </p:grpSp>
      <p:cxnSp>
        <p:nvCxnSpPr>
          <p:cNvPr id="41" name="直接箭头连接符 40"/>
          <p:cNvCxnSpPr/>
          <p:nvPr/>
        </p:nvCxnSpPr>
        <p:spPr>
          <a:xfrm>
            <a:off x="7333704" y="1882023"/>
            <a:ext cx="0" cy="1042921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437441" y="2017416"/>
            <a:ext cx="11170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发布接入协议标注</a:t>
            </a:r>
            <a:endParaRPr lang="zh-CN" altLang="en-US" sz="1400" dirty="0"/>
          </a:p>
        </p:txBody>
      </p:sp>
      <p:sp>
        <p:nvSpPr>
          <p:cNvPr id="44" name="TextBox 43"/>
          <p:cNvSpPr txBox="1"/>
          <p:nvPr/>
        </p:nvSpPr>
        <p:spPr>
          <a:xfrm>
            <a:off x="6212599" y="1982271"/>
            <a:ext cx="105990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自动化生成解析库</a:t>
            </a:r>
            <a:r>
              <a:rPr lang="en-US" altLang="zh-CN" sz="1400" dirty="0" smtClean="0"/>
              <a:t>/SDK</a:t>
            </a:r>
            <a:endParaRPr lang="zh-CN" altLang="en-US" sz="1400" dirty="0"/>
          </a:p>
        </p:txBody>
      </p:sp>
      <p:cxnSp>
        <p:nvCxnSpPr>
          <p:cNvPr id="7" name="直接箭头连接符 6"/>
          <p:cNvCxnSpPr/>
          <p:nvPr/>
        </p:nvCxnSpPr>
        <p:spPr>
          <a:xfrm flipV="1">
            <a:off x="6212599" y="1882024"/>
            <a:ext cx="0" cy="104292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25240" y="1146758"/>
            <a:ext cx="2262158" cy="369332"/>
          </a:xfrm>
          <a:prstGeom prst="rect">
            <a:avLst/>
          </a:prstGeom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rtlCol="0">
            <a:spAutoFit/>
          </a:bodyPr>
          <a:lstStyle>
            <a:defPPr>
              <a:defRPr lang="zh-CN"/>
            </a:defPPr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zh-CN" altLang="en-US" dirty="0" smtClean="0"/>
              <a:t>自动化接入解决方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45816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6793136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2000" b="1" dirty="0"/>
              <a:t>问题与思路：</a:t>
            </a:r>
            <a:r>
              <a:rPr lang="zh-CN" altLang="en-US" sz="2000" dirty="0" smtClean="0"/>
              <a:t>数据</a:t>
            </a:r>
            <a:r>
              <a:rPr lang="zh-CN" altLang="en-US" sz="2000" dirty="0"/>
              <a:t>的实时数据分析</a:t>
            </a:r>
            <a:r>
              <a:rPr lang="en-US" altLang="zh-CN" sz="2000" dirty="0"/>
              <a:t>/</a:t>
            </a:r>
            <a:r>
              <a:rPr lang="zh-CN" altLang="en-US" sz="2000" dirty="0"/>
              <a:t>监控问题</a:t>
            </a:r>
            <a:endParaRPr lang="en-US" altLang="zh-CN" sz="2000" dirty="0"/>
          </a:p>
        </p:txBody>
      </p:sp>
      <p:graphicFrame>
        <p:nvGraphicFramePr>
          <p:cNvPr id="25" name="内容占位符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1743716"/>
              </p:ext>
            </p:extLst>
          </p:nvPr>
        </p:nvGraphicFramePr>
        <p:xfrm>
          <a:off x="3575050" y="1000108"/>
          <a:ext cx="5111750" cy="51260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6" name="文本占位符 7"/>
          <p:cNvSpPr txBox="1">
            <a:spLocks/>
          </p:cNvSpPr>
          <p:nvPr/>
        </p:nvSpPr>
        <p:spPr>
          <a:xfrm>
            <a:off x="457200" y="1071546"/>
            <a:ext cx="3008313" cy="50546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 smtClean="0"/>
              <a:t>行为数据的采集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追踪埋点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异步收集</a:t>
            </a:r>
            <a:endParaRPr lang="en-US" altLang="zh-CN" sz="2400" dirty="0" smtClean="0"/>
          </a:p>
          <a:p>
            <a:r>
              <a:rPr lang="zh-CN" altLang="en-US" sz="2400" dirty="0" smtClean="0"/>
              <a:t>采集数据的分析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数据仓库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分析引擎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运营团队决策</a:t>
            </a:r>
            <a:endParaRPr lang="en-US" altLang="zh-CN" sz="2400" dirty="0" smtClean="0"/>
          </a:p>
          <a:p>
            <a:r>
              <a:rPr lang="zh-CN" altLang="en-US" sz="2400" dirty="0" smtClean="0"/>
              <a:t>风险行为的控制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行为监控</a:t>
            </a:r>
            <a:endParaRPr lang="en-US" altLang="zh-CN" sz="24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安全</a:t>
            </a:r>
            <a:r>
              <a:rPr lang="zh-CN" altLang="en-US" sz="2400" dirty="0"/>
              <a:t>监控</a:t>
            </a:r>
          </a:p>
        </p:txBody>
      </p:sp>
    </p:spTree>
    <p:extLst>
      <p:ext uri="{BB962C8B-B14F-4D97-AF65-F5344CB8AC3E}">
        <p14:creationId xmlns:p14="http://schemas.microsoft.com/office/powerpoint/2010/main" val="3649907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>
            <a:spLocks/>
          </p:cNvSpPr>
          <p:nvPr/>
        </p:nvSpPr>
        <p:spPr>
          <a:xfrm>
            <a:off x="395536" y="260648"/>
            <a:ext cx="6337028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b="1" dirty="0"/>
              <a:t>问题与思路：</a:t>
            </a:r>
            <a:r>
              <a:rPr lang="zh-CN" altLang="en-US" sz="1800" dirty="0" smtClean="0"/>
              <a:t>服务</a:t>
            </a:r>
            <a:r>
              <a:rPr lang="zh-CN" altLang="en-US" sz="1800" dirty="0" smtClean="0"/>
              <a:t>的高</a:t>
            </a:r>
            <a:r>
              <a:rPr lang="zh-CN" altLang="en-US" sz="1800" dirty="0" smtClean="0"/>
              <a:t>可用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41" name="内容占位符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7481178"/>
              </p:ext>
            </p:extLst>
          </p:nvPr>
        </p:nvGraphicFramePr>
        <p:xfrm>
          <a:off x="3851920" y="1071546"/>
          <a:ext cx="5111750" cy="505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2" name="文本占位符 11"/>
          <p:cNvSpPr txBox="1">
            <a:spLocks/>
          </p:cNvSpPr>
          <p:nvPr/>
        </p:nvSpPr>
        <p:spPr>
          <a:xfrm>
            <a:off x="457200" y="1071546"/>
            <a:ext cx="3322712" cy="5054617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dirty="0" smtClean="0"/>
              <a:t>避免宕机</a:t>
            </a:r>
            <a:endParaRPr lang="en-US" altLang="zh-CN" sz="28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dirty="0"/>
              <a:t>服务</a:t>
            </a:r>
            <a:r>
              <a:rPr lang="zh-CN" altLang="en-US" dirty="0" smtClean="0"/>
              <a:t>集群化</a:t>
            </a:r>
            <a:endParaRPr lang="en-US" altLang="zh-CN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dirty="0" smtClean="0"/>
              <a:t>监控服务化</a:t>
            </a:r>
            <a:endParaRPr lang="en-US" altLang="zh-CN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dirty="0" smtClean="0"/>
              <a:t>备份切换</a:t>
            </a:r>
            <a:endParaRPr lang="en-US" altLang="zh-CN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dirty="0" smtClean="0"/>
              <a:t>自动扩容</a:t>
            </a:r>
            <a:endParaRPr lang="en-US" altLang="zh-CN" dirty="0" smtClean="0"/>
          </a:p>
          <a:p>
            <a:r>
              <a:rPr lang="zh-CN" altLang="en-US" sz="2800" dirty="0" smtClean="0"/>
              <a:t>新产品发布</a:t>
            </a:r>
            <a:endParaRPr lang="en-US" altLang="zh-CN" sz="28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dirty="0" smtClean="0"/>
              <a:t>在线发布</a:t>
            </a:r>
            <a:endParaRPr lang="en-US" altLang="zh-CN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dirty="0" smtClean="0"/>
              <a:t>叠加式发布</a:t>
            </a:r>
            <a:endParaRPr lang="en-US" altLang="zh-CN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zh-CN" altLang="en-US" dirty="0" smtClean="0"/>
              <a:t>用户透明过渡</a:t>
            </a:r>
            <a:endParaRPr lang="en-US" altLang="zh-CN" dirty="0" smtClean="0"/>
          </a:p>
          <a:p>
            <a:pPr marL="457200" lvl="1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87390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1000">
              <a:srgbClr val="FF0000"/>
            </a:gs>
            <a:gs pos="100000">
              <a:srgbClr val="C00000"/>
            </a:gs>
            <a:gs pos="100000">
              <a:srgbClr val="C00000"/>
            </a:gs>
          </a:gsLst>
          <a:lin ang="5400000" scaled="1"/>
          <a:tileRect/>
        </a:gradFill>
        <a:ln w="9525">
          <a:solidFill>
            <a:srgbClr val="F8F8F8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19310</TotalTime>
  <Words>1407</Words>
  <Application>Microsoft Office PowerPoint</Application>
  <PresentationFormat>全屏显示(4:3)</PresentationFormat>
  <Paragraphs>379</Paragraphs>
  <Slides>18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1" baseType="lpstr">
      <vt:lpstr>JD Template V2.0</vt:lpstr>
      <vt:lpstr>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京东智能家居云介绍</dc:title>
  <dc:creator>huangyuqin@jd.com</dc:creator>
  <cp:lastModifiedBy>p</cp:lastModifiedBy>
  <cp:revision>977</cp:revision>
  <dcterms:created xsi:type="dcterms:W3CDTF">2013-11-13T04:04:11Z</dcterms:created>
  <dcterms:modified xsi:type="dcterms:W3CDTF">2015-03-21T08:33:44Z</dcterms:modified>
</cp:coreProperties>
</file>